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44"/>
  </p:notesMasterIdLst>
  <p:handoutMasterIdLst>
    <p:handoutMasterId r:id="rId45"/>
  </p:handoutMasterIdLst>
  <p:sldIdLst>
    <p:sldId id="467" r:id="rId24"/>
    <p:sldId id="468" r:id="rId25"/>
    <p:sldId id="470" r:id="rId26"/>
    <p:sldId id="474" r:id="rId27"/>
    <p:sldId id="507" r:id="rId28"/>
    <p:sldId id="453" r:id="rId29"/>
    <p:sldId id="513" r:id="rId30"/>
    <p:sldId id="494" r:id="rId31"/>
    <p:sldId id="480" r:id="rId32"/>
    <p:sldId id="491" r:id="rId33"/>
    <p:sldId id="512" r:id="rId34"/>
    <p:sldId id="511" r:id="rId35"/>
    <p:sldId id="473" r:id="rId36"/>
    <p:sldId id="472" r:id="rId37"/>
    <p:sldId id="509" r:id="rId38"/>
    <p:sldId id="510" r:id="rId39"/>
    <p:sldId id="499" r:id="rId40"/>
    <p:sldId id="498" r:id="rId41"/>
    <p:sldId id="500" r:id="rId42"/>
    <p:sldId id="466" r:id="rId43"/>
  </p:sldIdLst>
  <p:sldSz cx="9144000" cy="5143500" type="screen16x9"/>
  <p:notesSz cx="6883400" cy="9906000"/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4D4D4D"/>
    <a:srgbClr val="FDFD87"/>
    <a:srgbClr val="FFFF00"/>
    <a:srgbClr val="A02BFF"/>
    <a:srgbClr val="00CEFF"/>
    <a:srgbClr val="00D318"/>
    <a:srgbClr val="EA288C"/>
    <a:srgbClr val="BB0F9A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35" autoAdjust="0"/>
    <p:restoredTop sz="92185" autoAdjust="0"/>
  </p:normalViewPr>
  <p:slideViewPr>
    <p:cSldViewPr snapToGrid="0" snapToObjects="1">
      <p:cViewPr varScale="1">
        <p:scale>
          <a:sx n="87" d="100"/>
          <a:sy n="87" d="100"/>
        </p:scale>
        <p:origin x="1236" y="90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Fixo R2 off-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...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</dgm:pt>
    <dgm:pt modelId="{6F73384A-DB24-4E9B-9313-3EFB3DDE8577}" type="pres">
      <dgm:prSet presAssocID="{26566767-DCC0-4231-911B-DF7E9F672A5E}" presName="parTx" presStyleLbl="revTx" presStyleIdx="0" presStyleCnt="18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</dgm:pt>
    <dgm:pt modelId="{C054349A-9079-4978-A10C-80B4000B73E6}" type="pres">
      <dgm:prSet presAssocID="{26566767-DCC0-4231-911B-DF7E9F672A5E}" presName="parBackupNorm" presStyleCnt="0"/>
      <dgm:spPr/>
    </dgm:pt>
    <dgm:pt modelId="{24C5703B-3128-468D-93D7-5B64EFF7DC5D}" type="pres">
      <dgm:prSet presAssocID="{6E1566C3-BB28-4580-B079-0BF96AF88419}" presName="parSpace" presStyleCnt="0"/>
      <dgm:spPr/>
    </dgm:pt>
    <dgm:pt modelId="{C8C3D363-C41D-401A-AFB6-4434C784C1EC}" type="pres">
      <dgm:prSet presAssocID="{C7C7A2F3-4812-4F69-970D-66ACBF5D1559}" presName="desBackupLeftNorm" presStyleCnt="0"/>
      <dgm:spPr/>
    </dgm:pt>
    <dgm:pt modelId="{F8A11BC1-02E6-4CDC-AF95-1C0410A3A4A7}" type="pres">
      <dgm:prSet presAssocID="{C7C7A2F3-4812-4F69-970D-66ACBF5D1559}" presName="desComposite" presStyleCnt="0"/>
      <dgm:spPr/>
    </dgm:pt>
    <dgm:pt modelId="{988C035B-BE7B-49C8-9002-27080AEB6D54}" type="pres">
      <dgm:prSet presAssocID="{C7C7A2F3-4812-4F69-970D-66ACBF5D1559}" presName="desCircle" presStyleLbl="node1" presStyleIdx="0" presStyleCnt="8"/>
      <dgm:spPr/>
    </dgm:pt>
    <dgm:pt modelId="{6FC2B767-AFE4-4C94-BFD2-2853D88B54E5}" type="pres">
      <dgm:prSet presAssocID="{C7C7A2F3-4812-4F69-970D-66ACBF5D1559}" presName="chTx" presStyleLbl="revTx" presStyleIdx="1" presStyleCnt="18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18">
        <dgm:presLayoutVars>
          <dgm:bulletEnabled val="1"/>
        </dgm:presLayoutVars>
      </dgm:prSet>
      <dgm:spPr/>
    </dgm:pt>
    <dgm:pt modelId="{2E05AE3C-6A23-4215-B26B-538A0976C366}" type="pres">
      <dgm:prSet presAssocID="{C7C7A2F3-4812-4F69-970D-66ACBF5D1559}" presName="desBackupRightNorm" presStyleCnt="0"/>
      <dgm:spPr/>
    </dgm:pt>
    <dgm:pt modelId="{005D9CD6-8A5B-4B3C-9772-455DA646C6D5}" type="pres">
      <dgm:prSet presAssocID="{2160F81B-E270-4FFF-8EA0-8E2A6A32953B}" presName="desSpace" presStyleCnt="0"/>
      <dgm:spPr/>
    </dgm:pt>
    <dgm:pt modelId="{F5F5C2A5-CD2A-4BF3-9E7D-9CC3E927F990}" type="pres">
      <dgm:prSet presAssocID="{5A4F4D41-DDF6-494A-8DDF-DBA20DF76974}" presName="desBackupLeftNorm" presStyleCnt="0"/>
      <dgm:spPr/>
    </dgm:pt>
    <dgm:pt modelId="{00904F4D-D009-481C-BDD7-C81BF30DD670}" type="pres">
      <dgm:prSet presAssocID="{5A4F4D41-DDF6-494A-8DDF-DBA20DF76974}" presName="desComposite" presStyleCnt="0"/>
      <dgm:spPr/>
    </dgm:pt>
    <dgm:pt modelId="{46B25F0D-D431-4949-81A0-676174D34183}" type="pres">
      <dgm:prSet presAssocID="{5A4F4D41-DDF6-494A-8DDF-DBA20DF76974}" presName="desCircle" presStyleLbl="node1" presStyleIdx="1" presStyleCnt="8"/>
      <dgm:spPr/>
    </dgm:pt>
    <dgm:pt modelId="{593E5578-D846-4CF3-A9D5-73E453066575}" type="pres">
      <dgm:prSet presAssocID="{5A4F4D41-DDF6-494A-8DDF-DBA20DF76974}" presName="chTx" presStyleLbl="revTx" presStyleIdx="3" presStyleCnt="18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18">
        <dgm:presLayoutVars>
          <dgm:bulletEnabled val="1"/>
        </dgm:presLayoutVars>
      </dgm:prSet>
      <dgm:spPr/>
    </dgm:pt>
    <dgm:pt modelId="{6E357F85-05B6-4B53-9066-7FB07E9EAA3E}" type="pres">
      <dgm:prSet presAssocID="{5A4F4D41-DDF6-494A-8DDF-DBA20DF76974}" presName="desBackupRightNorm" presStyleCnt="0"/>
      <dgm:spPr/>
    </dgm:pt>
    <dgm:pt modelId="{387B4C12-958B-44D9-A807-6D6D9A880085}" type="pres">
      <dgm:prSet presAssocID="{7E922CEC-986E-427E-8CAC-FE2ADD87AAE1}" presName="desSpace" presStyleCnt="0"/>
      <dgm:spPr/>
    </dgm:pt>
    <dgm:pt modelId="{84CCE456-9A31-4DEE-BAB7-3AAB4DB7BF78}" type="pres">
      <dgm:prSet presAssocID="{7DC18236-30EB-4302-A4DA-2190886A08E9}" presName="desBackupLeftNorm" presStyleCnt="0"/>
      <dgm:spPr/>
    </dgm:pt>
    <dgm:pt modelId="{DC73377C-628A-4405-9964-724C2189D1E3}" type="pres">
      <dgm:prSet presAssocID="{7DC18236-30EB-4302-A4DA-2190886A08E9}" presName="desComposite" presStyleCnt="0"/>
      <dgm:spPr/>
    </dgm:pt>
    <dgm:pt modelId="{3FC968D4-1463-4BB8-8E4F-74B77036556E}" type="pres">
      <dgm:prSet presAssocID="{7DC18236-30EB-4302-A4DA-2190886A08E9}" presName="desCircle" presStyleLbl="node1" presStyleIdx="2" presStyleCnt="8"/>
      <dgm:spPr/>
    </dgm:pt>
    <dgm:pt modelId="{02CA001B-E24E-4625-8CFA-1A6C755C930E}" type="pres">
      <dgm:prSet presAssocID="{7DC18236-30EB-4302-A4DA-2190886A08E9}" presName="chTx" presStyleLbl="revTx" presStyleIdx="5" presStyleCnt="18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18">
        <dgm:presLayoutVars>
          <dgm:bulletEnabled val="1"/>
        </dgm:presLayoutVars>
      </dgm:prSet>
      <dgm:spPr/>
    </dgm:pt>
    <dgm:pt modelId="{AE72B25E-0A65-488B-9C29-B1D763436A57}" type="pres">
      <dgm:prSet presAssocID="{7DC18236-30EB-4302-A4DA-2190886A08E9}" presName="desBackupRightNorm" presStyleCnt="0"/>
      <dgm:spPr/>
    </dgm:pt>
    <dgm:pt modelId="{341DCFA4-81F2-46C5-B89F-D9D6359A3202}" type="pres">
      <dgm:prSet presAssocID="{A3714163-7465-460C-B689-F1432FA66DF2}" presName="desSpace" presStyleCnt="0"/>
      <dgm:spPr/>
    </dgm:pt>
    <dgm:pt modelId="{B5ECE69A-1709-46E5-B808-E420C4621320}" type="pres">
      <dgm:prSet presAssocID="{776EC1F7-996A-4DD0-A761-236B8084FE3C}" presName="desBackupLeftNorm" presStyleCnt="0"/>
      <dgm:spPr/>
    </dgm:pt>
    <dgm:pt modelId="{61EE79E8-884E-4AB3-BBC9-A66BAE573D68}" type="pres">
      <dgm:prSet presAssocID="{776EC1F7-996A-4DD0-A761-236B8084FE3C}" presName="desComposite" presStyleCnt="0"/>
      <dgm:spPr/>
    </dgm:pt>
    <dgm:pt modelId="{40C4B2F5-DDA6-41E2-B2AF-97E4F39909E6}" type="pres">
      <dgm:prSet presAssocID="{776EC1F7-996A-4DD0-A761-236B8084FE3C}" presName="desCircle" presStyleLbl="node1" presStyleIdx="3" presStyleCnt="8"/>
      <dgm:spPr/>
    </dgm:pt>
    <dgm:pt modelId="{F56B5539-3C77-47E1-8754-B43314A96F14}" type="pres">
      <dgm:prSet presAssocID="{776EC1F7-996A-4DD0-A761-236B8084FE3C}" presName="chTx" presStyleLbl="revTx" presStyleIdx="7" presStyleCnt="18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18">
        <dgm:presLayoutVars>
          <dgm:bulletEnabled val="1"/>
        </dgm:presLayoutVars>
      </dgm:prSet>
      <dgm:spPr/>
    </dgm:pt>
    <dgm:pt modelId="{8B6973B3-817C-49CE-93D5-F952D3681F10}" type="pres">
      <dgm:prSet presAssocID="{776EC1F7-996A-4DD0-A761-236B8084FE3C}" presName="desBackupRightNorm" presStyleCnt="0"/>
      <dgm:spPr/>
    </dgm:pt>
    <dgm:pt modelId="{0E1C1D2A-502D-48CE-AEC8-7488D876E2ED}" type="pres">
      <dgm:prSet presAssocID="{38770524-231E-4006-AE1B-7520970ED3E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</dgm:pt>
    <dgm:pt modelId="{F87B6F15-59C6-4659-B141-44CA8308F192}" type="pres">
      <dgm:prSet presAssocID="{57D3AE1B-73A5-48A4-9A09-1A300CDA4E8B}" presName="parBigCircle" presStyleLbl="node0" presStyleIdx="1" presStyleCnt="2"/>
      <dgm:spPr/>
    </dgm:pt>
    <dgm:pt modelId="{3EDE9DD2-3243-430B-BFDF-DB42C8C39F0F}" type="pres">
      <dgm:prSet presAssocID="{57D3AE1B-73A5-48A4-9A09-1A300CDA4E8B}" presName="parTx" presStyleLbl="revTx" presStyleIdx="9" presStyleCnt="18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</dgm:pt>
    <dgm:pt modelId="{7F10A9E6-0663-41C6-93C4-F47FB7BD746A}" type="pres">
      <dgm:prSet presAssocID="{57D3AE1B-73A5-48A4-9A09-1A300CDA4E8B}" presName="parBackupNorm" presStyleCnt="0"/>
      <dgm:spPr/>
    </dgm:pt>
    <dgm:pt modelId="{77DCCE78-72A1-491E-BC8D-F3AF5E37D4A8}" type="pres">
      <dgm:prSet presAssocID="{9AF49E6B-4C65-4948-8F33-6E992478EDEF}" presName="parSpace" presStyleCnt="0"/>
      <dgm:spPr/>
    </dgm:pt>
    <dgm:pt modelId="{C74E053A-3AC0-4730-9A92-0F2249A35D8A}" type="pres">
      <dgm:prSet presAssocID="{31715DCE-1033-4F51-AA7E-996A37078C2B}" presName="desBackupLeftNorm" presStyleCnt="0"/>
      <dgm:spPr/>
    </dgm:pt>
    <dgm:pt modelId="{42921E3A-CF41-49D9-A8B2-F862DACD1455}" type="pres">
      <dgm:prSet presAssocID="{31715DCE-1033-4F51-AA7E-996A37078C2B}" presName="desComposite" presStyleCnt="0"/>
      <dgm:spPr/>
    </dgm:pt>
    <dgm:pt modelId="{8DBDFD54-FA06-4E78-B1F9-B5C24B106AA5}" type="pres">
      <dgm:prSet presAssocID="{31715DCE-1033-4F51-AA7E-996A37078C2B}" presName="desCircle" presStyleLbl="node1" presStyleIdx="4" presStyleCnt="8"/>
      <dgm:spPr/>
    </dgm:pt>
    <dgm:pt modelId="{EB6A5027-8CC0-4067-8103-7E8095435049}" type="pres">
      <dgm:prSet presAssocID="{31715DCE-1033-4F51-AA7E-996A37078C2B}" presName="chTx" presStyleLbl="revTx" presStyleIdx="10" presStyleCnt="18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18">
        <dgm:presLayoutVars>
          <dgm:bulletEnabled val="1"/>
        </dgm:presLayoutVars>
      </dgm:prSet>
      <dgm:spPr/>
    </dgm:pt>
    <dgm:pt modelId="{2157E965-1A58-4647-B54C-41301E78F91D}" type="pres">
      <dgm:prSet presAssocID="{31715DCE-1033-4F51-AA7E-996A37078C2B}" presName="desBackupRightNorm" presStyleCnt="0"/>
      <dgm:spPr/>
    </dgm:pt>
    <dgm:pt modelId="{2CE77E30-7D1E-4313-BA7A-72425E4B9296}" type="pres">
      <dgm:prSet presAssocID="{F9E991BD-6677-4EFD-8A6E-9B02290356F4}" presName="desSpace" presStyleCnt="0"/>
      <dgm:spPr/>
    </dgm:pt>
    <dgm:pt modelId="{C01DFA6D-43E5-4429-A9B3-E2886C2B08AB}" type="pres">
      <dgm:prSet presAssocID="{AD47C804-6BCC-4DBF-BB15-E03DC61E03B9}" presName="desBackupLeftNorm" presStyleCnt="0"/>
      <dgm:spPr/>
    </dgm:pt>
    <dgm:pt modelId="{7679D52D-7B5F-4A0F-9F3A-A6C3FF6AA255}" type="pres">
      <dgm:prSet presAssocID="{AD47C804-6BCC-4DBF-BB15-E03DC61E03B9}" presName="desComposite" presStyleCnt="0"/>
      <dgm:spPr/>
    </dgm:pt>
    <dgm:pt modelId="{98F6187D-F3FF-4676-8B83-7A42AA5EA52A}" type="pres">
      <dgm:prSet presAssocID="{AD47C804-6BCC-4DBF-BB15-E03DC61E03B9}" presName="desCircle" presStyleLbl="node1" presStyleIdx="5" presStyleCnt="8"/>
      <dgm:spPr/>
    </dgm:pt>
    <dgm:pt modelId="{BF4020F7-F215-45CC-8770-28C12A152C49}" type="pres">
      <dgm:prSet presAssocID="{AD47C804-6BCC-4DBF-BB15-E03DC61E03B9}" presName="chTx" presStyleLbl="revTx" presStyleIdx="12" presStyleCnt="18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18">
        <dgm:presLayoutVars>
          <dgm:bulletEnabled val="1"/>
        </dgm:presLayoutVars>
      </dgm:prSet>
      <dgm:spPr/>
    </dgm:pt>
    <dgm:pt modelId="{AAA258DE-25B0-4EEC-AE45-3BD52C790DDE}" type="pres">
      <dgm:prSet presAssocID="{AD47C804-6BCC-4DBF-BB15-E03DC61E03B9}" presName="desBackupRightNorm" presStyleCnt="0"/>
      <dgm:spPr/>
    </dgm:pt>
    <dgm:pt modelId="{73CBFFD3-6A7B-4D17-8702-83FFF281EEA4}" type="pres">
      <dgm:prSet presAssocID="{EE2326E8-1323-4F79-A0FD-AE89729D24D6}" presName="desSpace" presStyleCnt="0"/>
      <dgm:spPr/>
    </dgm:pt>
    <dgm:pt modelId="{AF334E5A-D793-4FA0-A5C5-0D5AA4768030}" type="pres">
      <dgm:prSet presAssocID="{3BB52753-ADB0-4BB6-8892-2A780252071D}" presName="desBackupLeftNorm" presStyleCnt="0"/>
      <dgm:spPr/>
    </dgm:pt>
    <dgm:pt modelId="{52773FDC-4772-4F97-BC48-7D43FDF59697}" type="pres">
      <dgm:prSet presAssocID="{3BB52753-ADB0-4BB6-8892-2A780252071D}" presName="desComposite" presStyleCnt="0"/>
      <dgm:spPr/>
    </dgm:pt>
    <dgm:pt modelId="{285EB5AC-902D-472C-844D-916AF60547E4}" type="pres">
      <dgm:prSet presAssocID="{3BB52753-ADB0-4BB6-8892-2A780252071D}" presName="desCircle" presStyleLbl="node1" presStyleIdx="6" presStyleCnt="8"/>
      <dgm:spPr/>
    </dgm:pt>
    <dgm:pt modelId="{8CA68C6F-E3B6-46A7-A9B1-B780AB0310AB}" type="pres">
      <dgm:prSet presAssocID="{3BB52753-ADB0-4BB6-8892-2A780252071D}" presName="chTx" presStyleLbl="revTx" presStyleIdx="14" presStyleCnt="18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18">
        <dgm:presLayoutVars>
          <dgm:bulletEnabled val="1"/>
        </dgm:presLayoutVars>
      </dgm:prSet>
      <dgm:spPr/>
    </dgm:pt>
    <dgm:pt modelId="{62DE114B-FE75-4C07-93B2-1FFC0F4EA50E}" type="pres">
      <dgm:prSet presAssocID="{3BB52753-ADB0-4BB6-8892-2A780252071D}" presName="desBackupRightNorm" presStyleCnt="0"/>
      <dgm:spPr/>
    </dgm:pt>
    <dgm:pt modelId="{EACB1369-3186-4D39-944D-48FC110BAFF2}" type="pres">
      <dgm:prSet presAssocID="{1C8E540D-7B46-4518-9099-0937C9256430}" presName="desSpace" presStyleCnt="0"/>
      <dgm:spPr/>
    </dgm:pt>
    <dgm:pt modelId="{514ACA26-0E7A-4799-8323-8E78A018FE1A}" type="pres">
      <dgm:prSet presAssocID="{DBC45600-1869-4512-A3AB-AA97CD7EB4A9}" presName="desBackupLeftNorm" presStyleCnt="0"/>
      <dgm:spPr/>
    </dgm:pt>
    <dgm:pt modelId="{5A25D132-820E-44C3-AAA4-0E752E0B8155}" type="pres">
      <dgm:prSet presAssocID="{DBC45600-1869-4512-A3AB-AA97CD7EB4A9}" presName="desComposite" presStyleCnt="0"/>
      <dgm:spPr/>
    </dgm:pt>
    <dgm:pt modelId="{B554C5DC-DEEA-4AE2-942F-B531DCD6A4BC}" type="pres">
      <dgm:prSet presAssocID="{DBC45600-1869-4512-A3AB-AA97CD7EB4A9}" presName="desCircle" presStyleLbl="node1" presStyleIdx="7" presStyleCnt="8"/>
      <dgm:spPr/>
    </dgm:pt>
    <dgm:pt modelId="{D0E61BE3-08C2-42D5-B308-61E0BFDF64D4}" type="pres">
      <dgm:prSet presAssocID="{DBC45600-1869-4512-A3AB-AA97CD7EB4A9}" presName="chTx" presStyleLbl="revTx" presStyleIdx="16" presStyleCnt="18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18">
        <dgm:presLayoutVars>
          <dgm:bulletEnabled val="1"/>
        </dgm:presLayoutVars>
      </dgm:prSet>
      <dgm:spPr/>
    </dgm:pt>
    <dgm:pt modelId="{9F886749-129F-4F94-8FDC-026B682698D1}" type="pres">
      <dgm:prSet presAssocID="{DBC45600-1869-4512-A3AB-AA97CD7EB4A9}" presName="desBackupRightNorm" presStyleCnt="0"/>
      <dgm:spPr/>
    </dgm:pt>
    <dgm:pt modelId="{AA708E94-3504-4DF0-823F-FB4565134AB9}" type="pres">
      <dgm:prSet presAssocID="{F882C3DF-3E75-4E91-BA5E-46A9A7E0E4AC}" presName="desSpace" presStyleCnt="0"/>
      <dgm:spPr/>
    </dgm:pt>
  </dgm:ptLst>
  <dgm:cxnLst>
    <dgm:cxn modelId="{99A77EDC-32E8-4D76-8FC9-F89BA58D7758}" type="presOf" srcId="{26566767-DCC0-4231-911B-DF7E9F672A5E}" destId="{6F73384A-DB24-4E9B-9313-3EFB3DDE8577}" srcOrd="0" destOrd="0" presId="urn:microsoft.com/office/officeart/2008/layout/CircleAccentTimeline"/>
    <dgm:cxn modelId="{89384354-CE3A-4838-B99A-D30B5C587384}" type="presOf" srcId="{31715DCE-1033-4F51-AA7E-996A37078C2B}" destId="{EB6A5027-8CC0-4067-8103-7E8095435049}" srcOrd="0" destOrd="0" presId="urn:microsoft.com/office/officeart/2008/layout/CircleAccentTimeline"/>
    <dgm:cxn modelId="{13B996DF-F952-4D11-9E4F-7EFFE1BA8E12}" type="presOf" srcId="{AD47C804-6BCC-4DBF-BB15-E03DC61E03B9}" destId="{BF4020F7-F215-45CC-8770-28C12A152C49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F915DBFC-A35D-4399-94DC-7EC12AA866CA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311EA7EB-B874-492D-9C47-9BABBC624AFA}" type="presOf" srcId="{FD8CB35D-9AA8-4D3B-85BD-0C98676B30A3}" destId="{1A704293-4A00-4269-9793-84EF60BB46E7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985DB421-09EA-415B-91C8-B01D6FEC2766}" type="presOf" srcId="{5A4F4D41-DDF6-494A-8DDF-DBA20DF76974}" destId="{593E5578-D846-4CF3-A9D5-73E453066575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78B6C673-DC2A-4083-8992-644A7E3CD945}" type="presOf" srcId="{DBC45600-1869-4512-A3AB-AA97CD7EB4A9}" destId="{D0E61BE3-08C2-42D5-B308-61E0BFDF64D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7FCB2B35-0C6B-4E56-96E3-168D7B56B5F9}" type="presOf" srcId="{7DC18236-30EB-4302-A4DA-2190886A08E9}" destId="{02CA001B-E24E-4625-8CFA-1A6C755C930E}" srcOrd="0" destOrd="0" presId="urn:microsoft.com/office/officeart/2008/layout/CircleAccentTimeline"/>
    <dgm:cxn modelId="{4E51CB4D-6E2D-469C-8862-4F7260AD34B0}" type="presOf" srcId="{57D3AE1B-73A5-48A4-9A09-1A300CDA4E8B}" destId="{3EDE9DD2-3243-430B-BFDF-DB42C8C39F0F}" srcOrd="0" destOrd="0" presId="urn:microsoft.com/office/officeart/2008/layout/CircleAccentTimeline"/>
    <dgm:cxn modelId="{821679B7-6AA9-4DF4-8B2B-FD59F8EB674C}" type="presOf" srcId="{776EC1F7-996A-4DD0-A761-236B8084FE3C}" destId="{F56B5539-3C77-47E1-8754-B43314A96F14}" srcOrd="0" destOrd="0" presId="urn:microsoft.com/office/officeart/2008/layout/CircleAccentTimeline"/>
    <dgm:cxn modelId="{1CD45CC8-2D00-4EE6-A595-D60A34FC2131}" type="presOf" srcId="{3BB52753-ADB0-4BB6-8892-2A780252071D}" destId="{8CA68C6F-E3B6-46A7-A9B1-B780AB0310AB}" srcOrd="0" destOrd="0" presId="urn:microsoft.com/office/officeart/2008/layout/CircleAccentTimeline"/>
    <dgm:cxn modelId="{978E2AAF-2186-4D8C-8769-24D3CE4DED93}" type="presParOf" srcId="{1A704293-4A00-4269-9793-84EF60BB46E7}" destId="{A4C70CCE-E506-430D-8CE9-E3F0C822F8C1}" srcOrd="0" destOrd="0" presId="urn:microsoft.com/office/officeart/2008/layout/CircleAccentTimeline"/>
    <dgm:cxn modelId="{10A40646-728C-46FC-9EE7-FF58CABD3DCE}" type="presParOf" srcId="{A4C70CCE-E506-430D-8CE9-E3F0C822F8C1}" destId="{56AEF2CF-BD74-47E9-9224-4EAC05CF5B8D}" srcOrd="0" destOrd="0" presId="urn:microsoft.com/office/officeart/2008/layout/CircleAccentTimeline"/>
    <dgm:cxn modelId="{4FCF9924-BC29-459F-9B2C-E04002867678}" type="presParOf" srcId="{A4C70CCE-E506-430D-8CE9-E3F0C822F8C1}" destId="{6F73384A-DB24-4E9B-9313-3EFB3DDE8577}" srcOrd="1" destOrd="0" presId="urn:microsoft.com/office/officeart/2008/layout/CircleAccentTimeline"/>
    <dgm:cxn modelId="{E7149E96-1261-4C5A-A7C9-E590BC549C69}" type="presParOf" srcId="{A4C70CCE-E506-430D-8CE9-E3F0C822F8C1}" destId="{12B297DC-E2BD-43F9-AB76-F334910D5A94}" srcOrd="2" destOrd="0" presId="urn:microsoft.com/office/officeart/2008/layout/CircleAccentTimeline"/>
    <dgm:cxn modelId="{3A2567DC-FF22-4D38-99EF-BE35ABA0DD6A}" type="presParOf" srcId="{1A704293-4A00-4269-9793-84EF60BB46E7}" destId="{C054349A-9079-4978-A10C-80B4000B73E6}" srcOrd="1" destOrd="0" presId="urn:microsoft.com/office/officeart/2008/layout/CircleAccentTimeline"/>
    <dgm:cxn modelId="{2255B1C4-BFA9-4B4C-837E-51AB7BED18E8}" type="presParOf" srcId="{1A704293-4A00-4269-9793-84EF60BB46E7}" destId="{24C5703B-3128-468D-93D7-5B64EFF7DC5D}" srcOrd="2" destOrd="0" presId="urn:microsoft.com/office/officeart/2008/layout/CircleAccentTimeline"/>
    <dgm:cxn modelId="{79CCE9C7-06D1-4880-8286-9DF1413E4D36}" type="presParOf" srcId="{1A704293-4A00-4269-9793-84EF60BB46E7}" destId="{C8C3D363-C41D-401A-AFB6-4434C784C1EC}" srcOrd="3" destOrd="0" presId="urn:microsoft.com/office/officeart/2008/layout/CircleAccentTimeline"/>
    <dgm:cxn modelId="{F0448BCE-2E59-4E26-A08A-A319430BD2C0}" type="presParOf" srcId="{1A704293-4A00-4269-9793-84EF60BB46E7}" destId="{F8A11BC1-02E6-4CDC-AF95-1C0410A3A4A7}" srcOrd="4" destOrd="0" presId="urn:microsoft.com/office/officeart/2008/layout/CircleAccentTimeline"/>
    <dgm:cxn modelId="{E37A7131-2D33-4D42-AE22-2C213BA270E5}" type="presParOf" srcId="{F8A11BC1-02E6-4CDC-AF95-1C0410A3A4A7}" destId="{988C035B-BE7B-49C8-9002-27080AEB6D54}" srcOrd="0" destOrd="0" presId="urn:microsoft.com/office/officeart/2008/layout/CircleAccentTimeline"/>
    <dgm:cxn modelId="{3D28D304-DF91-4F09-BABE-59E20AA95E6A}" type="presParOf" srcId="{F8A11BC1-02E6-4CDC-AF95-1C0410A3A4A7}" destId="{6FC2B767-AFE4-4C94-BFD2-2853D88B54E5}" srcOrd="1" destOrd="0" presId="urn:microsoft.com/office/officeart/2008/layout/CircleAccentTimeline"/>
    <dgm:cxn modelId="{FBAEF074-DE86-42C1-BF8E-60565A74F917}" type="presParOf" srcId="{F8A11BC1-02E6-4CDC-AF95-1C0410A3A4A7}" destId="{28CB7A41-49F4-4D56-842A-D68F369A6307}" srcOrd="2" destOrd="0" presId="urn:microsoft.com/office/officeart/2008/layout/CircleAccentTimeline"/>
    <dgm:cxn modelId="{90312403-9D5D-431A-9D62-61DE147B71D2}" type="presParOf" srcId="{1A704293-4A00-4269-9793-84EF60BB46E7}" destId="{2E05AE3C-6A23-4215-B26B-538A0976C366}" srcOrd="5" destOrd="0" presId="urn:microsoft.com/office/officeart/2008/layout/CircleAccentTimeline"/>
    <dgm:cxn modelId="{8F2FE00C-54C8-403E-98DB-85773FF8A1D6}" type="presParOf" srcId="{1A704293-4A00-4269-9793-84EF60BB46E7}" destId="{005D9CD6-8A5B-4B3C-9772-455DA646C6D5}" srcOrd="6" destOrd="0" presId="urn:microsoft.com/office/officeart/2008/layout/CircleAccentTimeline"/>
    <dgm:cxn modelId="{58546FF0-F86F-4F6F-B800-590A27AD5ADC}" type="presParOf" srcId="{1A704293-4A00-4269-9793-84EF60BB46E7}" destId="{F5F5C2A5-CD2A-4BF3-9E7D-9CC3E927F990}" srcOrd="7" destOrd="0" presId="urn:microsoft.com/office/officeart/2008/layout/CircleAccentTimeline"/>
    <dgm:cxn modelId="{9A2C51A0-0F69-4FDB-90EF-E712C327A392}" type="presParOf" srcId="{1A704293-4A00-4269-9793-84EF60BB46E7}" destId="{00904F4D-D009-481C-BDD7-C81BF30DD670}" srcOrd="8" destOrd="0" presId="urn:microsoft.com/office/officeart/2008/layout/CircleAccentTimeline"/>
    <dgm:cxn modelId="{6D5AAAD7-375C-4F68-BC88-564C28E88AA6}" type="presParOf" srcId="{00904F4D-D009-481C-BDD7-C81BF30DD670}" destId="{46B25F0D-D431-4949-81A0-676174D34183}" srcOrd="0" destOrd="0" presId="urn:microsoft.com/office/officeart/2008/layout/CircleAccentTimeline"/>
    <dgm:cxn modelId="{75B3F62E-801A-465C-807F-C873AFAEE5A5}" type="presParOf" srcId="{00904F4D-D009-481C-BDD7-C81BF30DD670}" destId="{593E5578-D846-4CF3-A9D5-73E453066575}" srcOrd="1" destOrd="0" presId="urn:microsoft.com/office/officeart/2008/layout/CircleAccentTimeline"/>
    <dgm:cxn modelId="{5A214C8A-20C5-4A73-A133-388AF290EF91}" type="presParOf" srcId="{00904F4D-D009-481C-BDD7-C81BF30DD670}" destId="{A1AA65C6-9A13-4697-920B-109CDD4DDA94}" srcOrd="2" destOrd="0" presId="urn:microsoft.com/office/officeart/2008/layout/CircleAccentTimeline"/>
    <dgm:cxn modelId="{20B00F02-E502-4311-A4AB-E7979DA80577}" type="presParOf" srcId="{1A704293-4A00-4269-9793-84EF60BB46E7}" destId="{6E357F85-05B6-4B53-9066-7FB07E9EAA3E}" srcOrd="9" destOrd="0" presId="urn:microsoft.com/office/officeart/2008/layout/CircleAccentTimeline"/>
    <dgm:cxn modelId="{9BE9448A-9474-4445-81C8-FF71A6A25EE8}" type="presParOf" srcId="{1A704293-4A00-4269-9793-84EF60BB46E7}" destId="{387B4C12-958B-44D9-A807-6D6D9A880085}" srcOrd="10" destOrd="0" presId="urn:microsoft.com/office/officeart/2008/layout/CircleAccentTimeline"/>
    <dgm:cxn modelId="{972C1C23-05FC-4A35-86AF-100D74316D7F}" type="presParOf" srcId="{1A704293-4A00-4269-9793-84EF60BB46E7}" destId="{84CCE456-9A31-4DEE-BAB7-3AAB4DB7BF78}" srcOrd="11" destOrd="0" presId="urn:microsoft.com/office/officeart/2008/layout/CircleAccentTimeline"/>
    <dgm:cxn modelId="{5C27BB01-39F3-4176-A61D-86E97AAFD081}" type="presParOf" srcId="{1A704293-4A00-4269-9793-84EF60BB46E7}" destId="{DC73377C-628A-4405-9964-724C2189D1E3}" srcOrd="12" destOrd="0" presId="urn:microsoft.com/office/officeart/2008/layout/CircleAccentTimeline"/>
    <dgm:cxn modelId="{C9C18BDA-CC41-4752-BFC8-224097E7559E}" type="presParOf" srcId="{DC73377C-628A-4405-9964-724C2189D1E3}" destId="{3FC968D4-1463-4BB8-8E4F-74B77036556E}" srcOrd="0" destOrd="0" presId="urn:microsoft.com/office/officeart/2008/layout/CircleAccentTimeline"/>
    <dgm:cxn modelId="{7C25BABF-FA35-432F-B786-E666C0B1E335}" type="presParOf" srcId="{DC73377C-628A-4405-9964-724C2189D1E3}" destId="{02CA001B-E24E-4625-8CFA-1A6C755C930E}" srcOrd="1" destOrd="0" presId="urn:microsoft.com/office/officeart/2008/layout/CircleAccentTimeline"/>
    <dgm:cxn modelId="{B2384011-9829-4A73-BB05-E5ECB3A2C8E8}" type="presParOf" srcId="{DC73377C-628A-4405-9964-724C2189D1E3}" destId="{E0FD4796-E7AB-488D-9336-DB3CCBEFE335}" srcOrd="2" destOrd="0" presId="urn:microsoft.com/office/officeart/2008/layout/CircleAccentTimeline"/>
    <dgm:cxn modelId="{25B7D8C0-C0C2-4095-BA21-AF473BBBCC44}" type="presParOf" srcId="{1A704293-4A00-4269-9793-84EF60BB46E7}" destId="{AE72B25E-0A65-488B-9C29-B1D763436A57}" srcOrd="13" destOrd="0" presId="urn:microsoft.com/office/officeart/2008/layout/CircleAccentTimeline"/>
    <dgm:cxn modelId="{078987FB-B29B-4460-8B9A-90A3DC210DD2}" type="presParOf" srcId="{1A704293-4A00-4269-9793-84EF60BB46E7}" destId="{341DCFA4-81F2-46C5-B89F-D9D6359A3202}" srcOrd="14" destOrd="0" presId="urn:microsoft.com/office/officeart/2008/layout/CircleAccentTimeline"/>
    <dgm:cxn modelId="{D05121E8-0D48-439E-9B5B-C94EEE642273}" type="presParOf" srcId="{1A704293-4A00-4269-9793-84EF60BB46E7}" destId="{B5ECE69A-1709-46E5-B808-E420C4621320}" srcOrd="15" destOrd="0" presId="urn:microsoft.com/office/officeart/2008/layout/CircleAccentTimeline"/>
    <dgm:cxn modelId="{C6AC04C8-FFAF-48FE-B772-A61F8C2598E5}" type="presParOf" srcId="{1A704293-4A00-4269-9793-84EF60BB46E7}" destId="{61EE79E8-884E-4AB3-BBC9-A66BAE573D68}" srcOrd="16" destOrd="0" presId="urn:microsoft.com/office/officeart/2008/layout/CircleAccentTimeline"/>
    <dgm:cxn modelId="{97FD2CDC-41F9-4C02-B830-1A909C23C718}" type="presParOf" srcId="{61EE79E8-884E-4AB3-BBC9-A66BAE573D68}" destId="{40C4B2F5-DDA6-41E2-B2AF-97E4F39909E6}" srcOrd="0" destOrd="0" presId="urn:microsoft.com/office/officeart/2008/layout/CircleAccentTimeline"/>
    <dgm:cxn modelId="{5B4FFB71-D283-487C-AD90-08BDE4575EBF}" type="presParOf" srcId="{61EE79E8-884E-4AB3-BBC9-A66BAE573D68}" destId="{F56B5539-3C77-47E1-8754-B43314A96F14}" srcOrd="1" destOrd="0" presId="urn:microsoft.com/office/officeart/2008/layout/CircleAccentTimeline"/>
    <dgm:cxn modelId="{70190A4C-0754-40C1-BAD6-428AFE8452FF}" type="presParOf" srcId="{61EE79E8-884E-4AB3-BBC9-A66BAE573D68}" destId="{0566B732-D545-48BE-881E-52A791DA4ABA}" srcOrd="2" destOrd="0" presId="urn:microsoft.com/office/officeart/2008/layout/CircleAccentTimeline"/>
    <dgm:cxn modelId="{D52A0FBF-B575-4A19-AB0F-2413205EF6A3}" type="presParOf" srcId="{1A704293-4A00-4269-9793-84EF60BB46E7}" destId="{8B6973B3-817C-49CE-93D5-F952D3681F10}" srcOrd="17" destOrd="0" presId="urn:microsoft.com/office/officeart/2008/layout/CircleAccentTimeline"/>
    <dgm:cxn modelId="{0006F7C9-FF5F-47F9-BD72-146544C1AA1C}" type="presParOf" srcId="{1A704293-4A00-4269-9793-84EF60BB46E7}" destId="{0E1C1D2A-502D-48CE-AEC8-7488D876E2ED}" srcOrd="18" destOrd="0" presId="urn:microsoft.com/office/officeart/2008/layout/CircleAccentTimeline"/>
    <dgm:cxn modelId="{2DC72570-E06B-4A85-9968-1569F4E06A55}" type="presParOf" srcId="{1A704293-4A00-4269-9793-84EF60BB46E7}" destId="{7803BCF7-F0D7-4B1D-A3EF-8292C734420A}" srcOrd="19" destOrd="0" presId="urn:microsoft.com/office/officeart/2008/layout/CircleAccentTimeline"/>
    <dgm:cxn modelId="{F7940CF3-410A-4C68-B677-2450B7A44770}" type="presParOf" srcId="{7803BCF7-F0D7-4B1D-A3EF-8292C734420A}" destId="{F87B6F15-59C6-4659-B141-44CA8308F192}" srcOrd="0" destOrd="0" presId="urn:microsoft.com/office/officeart/2008/layout/CircleAccentTimeline"/>
    <dgm:cxn modelId="{412FD031-DBD8-4B09-BBB4-F73418B43338}" type="presParOf" srcId="{7803BCF7-F0D7-4B1D-A3EF-8292C734420A}" destId="{3EDE9DD2-3243-430B-BFDF-DB42C8C39F0F}" srcOrd="1" destOrd="0" presId="urn:microsoft.com/office/officeart/2008/layout/CircleAccentTimeline"/>
    <dgm:cxn modelId="{3D53CF28-ED8D-48B7-9408-6524FA5FF192}" type="presParOf" srcId="{7803BCF7-F0D7-4B1D-A3EF-8292C734420A}" destId="{54070C43-6009-4E1C-BA92-33271047321C}" srcOrd="2" destOrd="0" presId="urn:microsoft.com/office/officeart/2008/layout/CircleAccentTimeline"/>
    <dgm:cxn modelId="{9C8751C8-14CB-4900-BBEC-B19A8B8A3227}" type="presParOf" srcId="{1A704293-4A00-4269-9793-84EF60BB46E7}" destId="{7F10A9E6-0663-41C6-93C4-F47FB7BD746A}" srcOrd="20" destOrd="0" presId="urn:microsoft.com/office/officeart/2008/layout/CircleAccentTimeline"/>
    <dgm:cxn modelId="{D7C43E5F-74EA-4F15-8390-D4EC7AE14642}" type="presParOf" srcId="{1A704293-4A00-4269-9793-84EF60BB46E7}" destId="{77DCCE78-72A1-491E-BC8D-F3AF5E37D4A8}" srcOrd="21" destOrd="0" presId="urn:microsoft.com/office/officeart/2008/layout/CircleAccentTimeline"/>
    <dgm:cxn modelId="{F33EA46A-8501-4A20-B29A-67830FE740CC}" type="presParOf" srcId="{1A704293-4A00-4269-9793-84EF60BB46E7}" destId="{C74E053A-3AC0-4730-9A92-0F2249A35D8A}" srcOrd="22" destOrd="0" presId="urn:microsoft.com/office/officeart/2008/layout/CircleAccentTimeline"/>
    <dgm:cxn modelId="{0BD13BD7-61AF-4145-A58D-50E3E0699087}" type="presParOf" srcId="{1A704293-4A00-4269-9793-84EF60BB46E7}" destId="{42921E3A-CF41-49D9-A8B2-F862DACD1455}" srcOrd="23" destOrd="0" presId="urn:microsoft.com/office/officeart/2008/layout/CircleAccentTimeline"/>
    <dgm:cxn modelId="{53306773-F801-453D-8AE6-F45F07E5AB31}" type="presParOf" srcId="{42921E3A-CF41-49D9-A8B2-F862DACD1455}" destId="{8DBDFD54-FA06-4E78-B1F9-B5C24B106AA5}" srcOrd="0" destOrd="0" presId="urn:microsoft.com/office/officeart/2008/layout/CircleAccentTimeline"/>
    <dgm:cxn modelId="{4D9B19A9-C7F2-44F8-9612-29629E8B5339}" type="presParOf" srcId="{42921E3A-CF41-49D9-A8B2-F862DACD1455}" destId="{EB6A5027-8CC0-4067-8103-7E8095435049}" srcOrd="1" destOrd="0" presId="urn:microsoft.com/office/officeart/2008/layout/CircleAccentTimeline"/>
    <dgm:cxn modelId="{01BA6500-3F0E-484A-A762-AE853DB5873E}" type="presParOf" srcId="{42921E3A-CF41-49D9-A8B2-F862DACD1455}" destId="{B8523729-5ED9-4781-9993-ED44EE714E76}" srcOrd="2" destOrd="0" presId="urn:microsoft.com/office/officeart/2008/layout/CircleAccentTimeline"/>
    <dgm:cxn modelId="{26E5CF94-9253-4523-96F5-25B31CC6E177}" type="presParOf" srcId="{1A704293-4A00-4269-9793-84EF60BB46E7}" destId="{2157E965-1A58-4647-B54C-41301E78F91D}" srcOrd="24" destOrd="0" presId="urn:microsoft.com/office/officeart/2008/layout/CircleAccentTimeline"/>
    <dgm:cxn modelId="{ACBD5D3E-F611-4B98-A831-EA5B76170FAF}" type="presParOf" srcId="{1A704293-4A00-4269-9793-84EF60BB46E7}" destId="{2CE77E30-7D1E-4313-BA7A-72425E4B9296}" srcOrd="25" destOrd="0" presId="urn:microsoft.com/office/officeart/2008/layout/CircleAccentTimeline"/>
    <dgm:cxn modelId="{45F594B1-7D1D-4A1B-A7DE-688275F76B81}" type="presParOf" srcId="{1A704293-4A00-4269-9793-84EF60BB46E7}" destId="{C01DFA6D-43E5-4429-A9B3-E2886C2B08AB}" srcOrd="26" destOrd="0" presId="urn:microsoft.com/office/officeart/2008/layout/CircleAccentTimeline"/>
    <dgm:cxn modelId="{D29F6B09-BFD7-4BB8-B772-97BEF2DF1A75}" type="presParOf" srcId="{1A704293-4A00-4269-9793-84EF60BB46E7}" destId="{7679D52D-7B5F-4A0F-9F3A-A6C3FF6AA255}" srcOrd="27" destOrd="0" presId="urn:microsoft.com/office/officeart/2008/layout/CircleAccentTimeline"/>
    <dgm:cxn modelId="{0038C13D-DFF4-4A65-9D6C-8D4746048025}" type="presParOf" srcId="{7679D52D-7B5F-4A0F-9F3A-A6C3FF6AA255}" destId="{98F6187D-F3FF-4676-8B83-7A42AA5EA52A}" srcOrd="0" destOrd="0" presId="urn:microsoft.com/office/officeart/2008/layout/CircleAccentTimeline"/>
    <dgm:cxn modelId="{762B9BAE-861E-4ECD-B810-E8296D06B969}" type="presParOf" srcId="{7679D52D-7B5F-4A0F-9F3A-A6C3FF6AA255}" destId="{BF4020F7-F215-45CC-8770-28C12A152C49}" srcOrd="1" destOrd="0" presId="urn:microsoft.com/office/officeart/2008/layout/CircleAccentTimeline"/>
    <dgm:cxn modelId="{D5754A20-766F-4913-A1CB-D1BB9F769B66}" type="presParOf" srcId="{7679D52D-7B5F-4A0F-9F3A-A6C3FF6AA255}" destId="{9D3D5B97-3DE5-4600-B2D0-2F52A3508BAB}" srcOrd="2" destOrd="0" presId="urn:microsoft.com/office/officeart/2008/layout/CircleAccentTimeline"/>
    <dgm:cxn modelId="{0906DC01-ABB6-4654-8D09-6774163C4867}" type="presParOf" srcId="{1A704293-4A00-4269-9793-84EF60BB46E7}" destId="{AAA258DE-25B0-4EEC-AE45-3BD52C790DDE}" srcOrd="28" destOrd="0" presId="urn:microsoft.com/office/officeart/2008/layout/CircleAccentTimeline"/>
    <dgm:cxn modelId="{2D461B02-39D3-4003-9AA4-A03528F02C18}" type="presParOf" srcId="{1A704293-4A00-4269-9793-84EF60BB46E7}" destId="{73CBFFD3-6A7B-4D17-8702-83FFF281EEA4}" srcOrd="29" destOrd="0" presId="urn:microsoft.com/office/officeart/2008/layout/CircleAccentTimeline"/>
    <dgm:cxn modelId="{EEC8A230-78AC-4410-8A0B-B07E6E7BB337}" type="presParOf" srcId="{1A704293-4A00-4269-9793-84EF60BB46E7}" destId="{AF334E5A-D793-4FA0-A5C5-0D5AA4768030}" srcOrd="30" destOrd="0" presId="urn:microsoft.com/office/officeart/2008/layout/CircleAccentTimeline"/>
    <dgm:cxn modelId="{C99E1A1B-D1A3-472A-960C-17F7574C7DBE}" type="presParOf" srcId="{1A704293-4A00-4269-9793-84EF60BB46E7}" destId="{52773FDC-4772-4F97-BC48-7D43FDF59697}" srcOrd="31" destOrd="0" presId="urn:microsoft.com/office/officeart/2008/layout/CircleAccentTimeline"/>
    <dgm:cxn modelId="{6C47A319-749B-42CE-B431-587E643BC292}" type="presParOf" srcId="{52773FDC-4772-4F97-BC48-7D43FDF59697}" destId="{285EB5AC-902D-472C-844D-916AF60547E4}" srcOrd="0" destOrd="0" presId="urn:microsoft.com/office/officeart/2008/layout/CircleAccentTimeline"/>
    <dgm:cxn modelId="{68963D44-D4AD-48C5-9ED7-F6066A581444}" type="presParOf" srcId="{52773FDC-4772-4F97-BC48-7D43FDF59697}" destId="{8CA68C6F-E3B6-46A7-A9B1-B780AB0310AB}" srcOrd="1" destOrd="0" presId="urn:microsoft.com/office/officeart/2008/layout/CircleAccentTimeline"/>
    <dgm:cxn modelId="{E7BFFEC9-9662-4BA5-A2F3-B5926BE536C0}" type="presParOf" srcId="{52773FDC-4772-4F97-BC48-7D43FDF59697}" destId="{2BF1D30D-A645-461B-8B53-6D37647F8F3F}" srcOrd="2" destOrd="0" presId="urn:microsoft.com/office/officeart/2008/layout/CircleAccentTimeline"/>
    <dgm:cxn modelId="{17DEB83C-949C-40FB-8807-E5FAAA6BAEBA}" type="presParOf" srcId="{1A704293-4A00-4269-9793-84EF60BB46E7}" destId="{62DE114B-FE75-4C07-93B2-1FFC0F4EA50E}" srcOrd="32" destOrd="0" presId="urn:microsoft.com/office/officeart/2008/layout/CircleAccentTimeline"/>
    <dgm:cxn modelId="{33B1F41B-50EE-4A2C-BB77-1D55F1769A0F}" type="presParOf" srcId="{1A704293-4A00-4269-9793-84EF60BB46E7}" destId="{EACB1369-3186-4D39-944D-48FC110BAFF2}" srcOrd="33" destOrd="0" presId="urn:microsoft.com/office/officeart/2008/layout/CircleAccentTimeline"/>
    <dgm:cxn modelId="{927D71D3-DFF8-4001-92D6-3926C42782D8}" type="presParOf" srcId="{1A704293-4A00-4269-9793-84EF60BB46E7}" destId="{514ACA26-0E7A-4799-8323-8E78A018FE1A}" srcOrd="34" destOrd="0" presId="urn:microsoft.com/office/officeart/2008/layout/CircleAccentTimeline"/>
    <dgm:cxn modelId="{550845C1-9A60-4052-B743-B80087C8FCDA}" type="presParOf" srcId="{1A704293-4A00-4269-9793-84EF60BB46E7}" destId="{5A25D132-820E-44C3-AAA4-0E752E0B8155}" srcOrd="35" destOrd="0" presId="urn:microsoft.com/office/officeart/2008/layout/CircleAccentTimeline"/>
    <dgm:cxn modelId="{6ACD654F-B796-4F44-A029-11FE6FF6ED4D}" type="presParOf" srcId="{5A25D132-820E-44C3-AAA4-0E752E0B8155}" destId="{B554C5DC-DEEA-4AE2-942F-B531DCD6A4BC}" srcOrd="0" destOrd="0" presId="urn:microsoft.com/office/officeart/2008/layout/CircleAccentTimeline"/>
    <dgm:cxn modelId="{84CEB432-B7F6-4514-AA82-FF545B66BC24}" type="presParOf" srcId="{5A25D132-820E-44C3-AAA4-0E752E0B8155}" destId="{D0E61BE3-08C2-42D5-B308-61E0BFDF64D4}" srcOrd="1" destOrd="0" presId="urn:microsoft.com/office/officeart/2008/layout/CircleAccentTimeline"/>
    <dgm:cxn modelId="{6A5100EA-7384-4DA3-ADA2-8FF9463AE438}" type="presParOf" srcId="{5A25D132-820E-44C3-AAA4-0E752E0B8155}" destId="{0B76364A-724C-4D60-B742-8B2007D3D83F}" srcOrd="2" destOrd="0" presId="urn:microsoft.com/office/officeart/2008/layout/CircleAccentTimeline"/>
    <dgm:cxn modelId="{0152A7EC-81CB-43DC-9467-F78C7AE63B2B}" type="presParOf" srcId="{1A704293-4A00-4269-9793-84EF60BB46E7}" destId="{9F886749-129F-4F94-8FDC-026B682698D1}" srcOrd="36" destOrd="0" presId="urn:microsoft.com/office/officeart/2008/layout/CircleAccentTimeline"/>
    <dgm:cxn modelId="{564AA67A-B653-4F1E-A901-FF0D40E8542E}" type="presParOf" srcId="{1A704293-4A00-4269-9793-84EF60BB46E7}" destId="{AA708E94-3504-4DF0-823F-FB4565134AB9}" srcOrd="37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23362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9C2515A3-3D0B-46D5-8834-AD7CDD298A1D}" type="presOf" srcId="{22C8004B-A441-4F06-B14F-E6072A253398}" destId="{3014A0A9-B888-44B6-87FD-3FA34B8C82C9}" srcOrd="0" destOrd="0" presId="urn:microsoft.com/office/officeart/2005/8/layout/chevron1"/>
    <dgm:cxn modelId="{A93C7C55-410C-42C1-8EBD-060F065F3008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1EA188BB-80ED-4D82-ADBD-69C54A1816A8}" type="presOf" srcId="{CC6DE7D9-FFFB-4048-A63C-05CB70202A8D}" destId="{0550EBE2-3CC1-4770-9B02-DDFB5E793DEB}" srcOrd="0" destOrd="0" presId="urn:microsoft.com/office/officeart/2005/8/layout/chevron1"/>
    <dgm:cxn modelId="{AAB0232E-3A98-416C-809C-EB03E16BE533}" type="presParOf" srcId="{3014A0A9-B888-44B6-87FD-3FA34B8C82C9}" destId="{186D22AC-C516-4D8C-AE22-0C650918D950}" srcOrd="0" destOrd="0" presId="urn:microsoft.com/office/officeart/2005/8/layout/chevron1"/>
    <dgm:cxn modelId="{DA2F2E9A-1993-40E0-80AA-94E184C45C45}" type="presParOf" srcId="{3014A0A9-B888-44B6-87FD-3FA34B8C82C9}" destId="{47E3C63A-3CC1-478C-B991-43B301263277}" srcOrd="1" destOrd="0" presId="urn:microsoft.com/office/officeart/2005/8/layout/chevron1"/>
    <dgm:cxn modelId="{6C0F8D88-BD7D-460E-A3E9-04FA0F25687F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2P Fixo R1/R2 e Velox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3P - TV </a:t>
          </a:r>
          <a:r>
            <a:rPr lang="pt-BR" dirty="0" smtClean="0">
              <a:latin typeface="Simplon BP Regular" pitchFamily="2" charset="0"/>
            </a:rPr>
            <a:t>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+ Móvel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D3D679E8-8BB4-4301-8A72-28E361C78A3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óvel puro (</a:t>
          </a:r>
          <a:r>
            <a:rPr lang="pt-BR" dirty="0" err="1" smtClean="0">
              <a:latin typeface="Simplon BP Regular" pitchFamily="2" charset="0"/>
            </a:rPr>
            <a:t>pré</a:t>
          </a:r>
          <a:r>
            <a:rPr lang="pt-BR" dirty="0" smtClean="0">
              <a:latin typeface="Simplon BP Regular" pitchFamily="2" charset="0"/>
            </a:rPr>
            <a:t>/pós)</a:t>
          </a:r>
          <a:endParaRPr lang="pt-BR" dirty="0">
            <a:latin typeface="Simplon BP Regular" pitchFamily="2" charset="0"/>
          </a:endParaRPr>
        </a:p>
      </dgm:t>
    </dgm:pt>
    <dgm:pt modelId="{5531F80A-1DCD-4AC7-8D81-F0376F2F2ECF}" type="parTrans" cxnId="{AAD69A32-7C1E-4430-9A5F-E68E6A5147F8}">
      <dgm:prSet/>
      <dgm:spPr/>
      <dgm:t>
        <a:bodyPr/>
        <a:lstStyle/>
        <a:p>
          <a:endParaRPr lang="pt-BR"/>
        </a:p>
      </dgm:t>
    </dgm:pt>
    <dgm:pt modelId="{5EFF03F7-4D5E-4385-A110-DBFD9FD0D1B1}" type="sibTrans" cxnId="{AAD69A32-7C1E-4430-9A5F-E68E6A5147F8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  <dgm:t>
        <a:bodyPr/>
        <a:lstStyle/>
        <a:p>
          <a:endParaRPr lang="pt-BR"/>
        </a:p>
      </dgm:t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  <dgm:t>
        <a:bodyPr/>
        <a:lstStyle/>
        <a:p>
          <a:endParaRPr lang="pt-BR"/>
        </a:p>
      </dgm:t>
    </dgm:pt>
    <dgm:pt modelId="{6F73384A-DB24-4E9B-9313-3EFB3DDE8577}" type="pres">
      <dgm:prSet presAssocID="{26566767-DCC0-4231-911B-DF7E9F672A5E}" presName="parTx" presStyleLbl="revTx" presStyleIdx="0" presStyleCnt="20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  <dgm:t>
        <a:bodyPr/>
        <a:lstStyle/>
        <a:p>
          <a:endParaRPr lang="pt-BR"/>
        </a:p>
      </dgm:t>
    </dgm:pt>
    <dgm:pt modelId="{C054349A-9079-4978-A10C-80B4000B73E6}" type="pres">
      <dgm:prSet presAssocID="{26566767-DCC0-4231-911B-DF7E9F672A5E}" presName="parBackupNorm" presStyleCnt="0"/>
      <dgm:spPr/>
      <dgm:t>
        <a:bodyPr/>
        <a:lstStyle/>
        <a:p>
          <a:endParaRPr lang="pt-BR"/>
        </a:p>
      </dgm:t>
    </dgm:pt>
    <dgm:pt modelId="{24C5703B-3128-468D-93D7-5B64EFF7DC5D}" type="pres">
      <dgm:prSet presAssocID="{6E1566C3-BB28-4580-B079-0BF96AF88419}" presName="parSpace" presStyleCnt="0"/>
      <dgm:spPr/>
      <dgm:t>
        <a:bodyPr/>
        <a:lstStyle/>
        <a:p>
          <a:endParaRPr lang="pt-BR"/>
        </a:p>
      </dgm:t>
    </dgm:pt>
    <dgm:pt modelId="{C8C3D363-C41D-401A-AFB6-4434C784C1EC}" type="pres">
      <dgm:prSet presAssocID="{C7C7A2F3-4812-4F69-970D-66ACBF5D1559}" presName="desBackupLeftNorm" presStyleCnt="0"/>
      <dgm:spPr/>
      <dgm:t>
        <a:bodyPr/>
        <a:lstStyle/>
        <a:p>
          <a:endParaRPr lang="pt-BR"/>
        </a:p>
      </dgm:t>
    </dgm:pt>
    <dgm:pt modelId="{F8A11BC1-02E6-4CDC-AF95-1C0410A3A4A7}" type="pres">
      <dgm:prSet presAssocID="{C7C7A2F3-4812-4F69-970D-66ACBF5D1559}" presName="desComposite" presStyleCnt="0"/>
      <dgm:spPr/>
      <dgm:t>
        <a:bodyPr/>
        <a:lstStyle/>
        <a:p>
          <a:endParaRPr lang="pt-BR"/>
        </a:p>
      </dgm:t>
    </dgm:pt>
    <dgm:pt modelId="{988C035B-BE7B-49C8-9002-27080AEB6D54}" type="pres">
      <dgm:prSet presAssocID="{C7C7A2F3-4812-4F69-970D-66ACBF5D1559}" presName="desCircle" presStyleLbl="node1" presStyleIdx="0" presStyleCnt="9"/>
      <dgm:spPr/>
      <dgm:t>
        <a:bodyPr/>
        <a:lstStyle/>
        <a:p>
          <a:endParaRPr lang="pt-BR"/>
        </a:p>
      </dgm:t>
    </dgm:pt>
    <dgm:pt modelId="{6FC2B767-AFE4-4C94-BFD2-2853D88B54E5}" type="pres">
      <dgm:prSet presAssocID="{C7C7A2F3-4812-4F69-970D-66ACBF5D1559}" presName="chTx" presStyleLbl="revTx" presStyleIdx="1" presStyleCnt="20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E05AE3C-6A23-4215-B26B-538A0976C366}" type="pres">
      <dgm:prSet presAssocID="{C7C7A2F3-4812-4F69-970D-66ACBF5D1559}" presName="desBackupRightNorm" presStyleCnt="0"/>
      <dgm:spPr/>
      <dgm:t>
        <a:bodyPr/>
        <a:lstStyle/>
        <a:p>
          <a:endParaRPr lang="pt-BR"/>
        </a:p>
      </dgm:t>
    </dgm:pt>
    <dgm:pt modelId="{005D9CD6-8A5B-4B3C-9772-455DA646C6D5}" type="pres">
      <dgm:prSet presAssocID="{2160F81B-E270-4FFF-8EA0-8E2A6A32953B}" presName="desSpace" presStyleCnt="0"/>
      <dgm:spPr/>
      <dgm:t>
        <a:bodyPr/>
        <a:lstStyle/>
        <a:p>
          <a:endParaRPr lang="pt-BR"/>
        </a:p>
      </dgm:t>
    </dgm:pt>
    <dgm:pt modelId="{F5F5C2A5-CD2A-4BF3-9E7D-9CC3E927F990}" type="pres">
      <dgm:prSet presAssocID="{5A4F4D41-DDF6-494A-8DDF-DBA20DF76974}" presName="desBackupLeftNorm" presStyleCnt="0"/>
      <dgm:spPr/>
      <dgm:t>
        <a:bodyPr/>
        <a:lstStyle/>
        <a:p>
          <a:endParaRPr lang="pt-BR"/>
        </a:p>
      </dgm:t>
    </dgm:pt>
    <dgm:pt modelId="{00904F4D-D009-481C-BDD7-C81BF30DD670}" type="pres">
      <dgm:prSet presAssocID="{5A4F4D41-DDF6-494A-8DDF-DBA20DF76974}" presName="desComposite" presStyleCnt="0"/>
      <dgm:spPr/>
      <dgm:t>
        <a:bodyPr/>
        <a:lstStyle/>
        <a:p>
          <a:endParaRPr lang="pt-BR"/>
        </a:p>
      </dgm:t>
    </dgm:pt>
    <dgm:pt modelId="{46B25F0D-D431-4949-81A0-676174D34183}" type="pres">
      <dgm:prSet presAssocID="{5A4F4D41-DDF6-494A-8DDF-DBA20DF76974}" presName="desCircle" presStyleLbl="node1" presStyleIdx="1" presStyleCnt="9"/>
      <dgm:spPr/>
      <dgm:t>
        <a:bodyPr/>
        <a:lstStyle/>
        <a:p>
          <a:endParaRPr lang="pt-BR"/>
        </a:p>
      </dgm:t>
    </dgm:pt>
    <dgm:pt modelId="{593E5578-D846-4CF3-A9D5-73E453066575}" type="pres">
      <dgm:prSet presAssocID="{5A4F4D41-DDF6-494A-8DDF-DBA20DF76974}" presName="chTx" presStyleLbl="revTx" presStyleIdx="3" presStyleCnt="20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E357F85-05B6-4B53-9066-7FB07E9EAA3E}" type="pres">
      <dgm:prSet presAssocID="{5A4F4D41-DDF6-494A-8DDF-DBA20DF76974}" presName="desBackupRightNorm" presStyleCnt="0"/>
      <dgm:spPr/>
      <dgm:t>
        <a:bodyPr/>
        <a:lstStyle/>
        <a:p>
          <a:endParaRPr lang="pt-BR"/>
        </a:p>
      </dgm:t>
    </dgm:pt>
    <dgm:pt modelId="{387B4C12-958B-44D9-A807-6D6D9A880085}" type="pres">
      <dgm:prSet presAssocID="{7E922CEC-986E-427E-8CAC-FE2ADD87AAE1}" presName="desSpace" presStyleCnt="0"/>
      <dgm:spPr/>
      <dgm:t>
        <a:bodyPr/>
        <a:lstStyle/>
        <a:p>
          <a:endParaRPr lang="pt-BR"/>
        </a:p>
      </dgm:t>
    </dgm:pt>
    <dgm:pt modelId="{84CCE456-9A31-4DEE-BAB7-3AAB4DB7BF78}" type="pres">
      <dgm:prSet presAssocID="{7DC18236-30EB-4302-A4DA-2190886A08E9}" presName="desBackupLeftNorm" presStyleCnt="0"/>
      <dgm:spPr/>
      <dgm:t>
        <a:bodyPr/>
        <a:lstStyle/>
        <a:p>
          <a:endParaRPr lang="pt-BR"/>
        </a:p>
      </dgm:t>
    </dgm:pt>
    <dgm:pt modelId="{DC73377C-628A-4405-9964-724C2189D1E3}" type="pres">
      <dgm:prSet presAssocID="{7DC18236-30EB-4302-A4DA-2190886A08E9}" presName="desComposite" presStyleCnt="0"/>
      <dgm:spPr/>
      <dgm:t>
        <a:bodyPr/>
        <a:lstStyle/>
        <a:p>
          <a:endParaRPr lang="pt-BR"/>
        </a:p>
      </dgm:t>
    </dgm:pt>
    <dgm:pt modelId="{3FC968D4-1463-4BB8-8E4F-74B77036556E}" type="pres">
      <dgm:prSet presAssocID="{7DC18236-30EB-4302-A4DA-2190886A08E9}" presName="desCircle" presStyleLbl="node1" presStyleIdx="2" presStyleCnt="9"/>
      <dgm:spPr/>
      <dgm:t>
        <a:bodyPr/>
        <a:lstStyle/>
        <a:p>
          <a:endParaRPr lang="pt-BR"/>
        </a:p>
      </dgm:t>
    </dgm:pt>
    <dgm:pt modelId="{02CA001B-E24E-4625-8CFA-1A6C755C930E}" type="pres">
      <dgm:prSet presAssocID="{7DC18236-30EB-4302-A4DA-2190886A08E9}" presName="chTx" presStyleLbl="revTx" presStyleIdx="5" presStyleCnt="20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E72B25E-0A65-488B-9C29-B1D763436A57}" type="pres">
      <dgm:prSet presAssocID="{7DC18236-30EB-4302-A4DA-2190886A08E9}" presName="desBackupRightNorm" presStyleCnt="0"/>
      <dgm:spPr/>
      <dgm:t>
        <a:bodyPr/>
        <a:lstStyle/>
        <a:p>
          <a:endParaRPr lang="pt-BR"/>
        </a:p>
      </dgm:t>
    </dgm:pt>
    <dgm:pt modelId="{341DCFA4-81F2-46C5-B89F-D9D6359A3202}" type="pres">
      <dgm:prSet presAssocID="{A3714163-7465-460C-B689-F1432FA66DF2}" presName="desSpace" presStyleCnt="0"/>
      <dgm:spPr/>
      <dgm:t>
        <a:bodyPr/>
        <a:lstStyle/>
        <a:p>
          <a:endParaRPr lang="pt-BR"/>
        </a:p>
      </dgm:t>
    </dgm:pt>
    <dgm:pt modelId="{B5ECE69A-1709-46E5-B808-E420C4621320}" type="pres">
      <dgm:prSet presAssocID="{776EC1F7-996A-4DD0-A761-236B8084FE3C}" presName="desBackupLeftNorm" presStyleCnt="0"/>
      <dgm:spPr/>
      <dgm:t>
        <a:bodyPr/>
        <a:lstStyle/>
        <a:p>
          <a:endParaRPr lang="pt-BR"/>
        </a:p>
      </dgm:t>
    </dgm:pt>
    <dgm:pt modelId="{61EE79E8-884E-4AB3-BBC9-A66BAE573D68}" type="pres">
      <dgm:prSet presAssocID="{776EC1F7-996A-4DD0-A761-236B8084FE3C}" presName="desComposite" presStyleCnt="0"/>
      <dgm:spPr/>
      <dgm:t>
        <a:bodyPr/>
        <a:lstStyle/>
        <a:p>
          <a:endParaRPr lang="pt-BR"/>
        </a:p>
      </dgm:t>
    </dgm:pt>
    <dgm:pt modelId="{40C4B2F5-DDA6-41E2-B2AF-97E4F39909E6}" type="pres">
      <dgm:prSet presAssocID="{776EC1F7-996A-4DD0-A761-236B8084FE3C}" presName="desCircle" presStyleLbl="node1" presStyleIdx="3" presStyleCnt="9"/>
      <dgm:spPr/>
      <dgm:t>
        <a:bodyPr/>
        <a:lstStyle/>
        <a:p>
          <a:endParaRPr lang="pt-BR"/>
        </a:p>
      </dgm:t>
    </dgm:pt>
    <dgm:pt modelId="{F56B5539-3C77-47E1-8754-B43314A96F14}" type="pres">
      <dgm:prSet presAssocID="{776EC1F7-996A-4DD0-A761-236B8084FE3C}" presName="chTx" presStyleLbl="revTx" presStyleIdx="7" presStyleCnt="20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6973B3-817C-49CE-93D5-F952D3681F10}" type="pres">
      <dgm:prSet presAssocID="{776EC1F7-996A-4DD0-A761-236B8084FE3C}" presName="desBackupRightNorm" presStyleCnt="0"/>
      <dgm:spPr/>
      <dgm:t>
        <a:bodyPr/>
        <a:lstStyle/>
        <a:p>
          <a:endParaRPr lang="pt-BR"/>
        </a:p>
      </dgm:t>
    </dgm:pt>
    <dgm:pt modelId="{0E1C1D2A-502D-48CE-AEC8-7488D876E2ED}" type="pres">
      <dgm:prSet presAssocID="{38770524-231E-4006-AE1B-7520970ED3E8}" presName="desSpace" presStyleCnt="0"/>
      <dgm:spPr/>
      <dgm:t>
        <a:bodyPr/>
        <a:lstStyle/>
        <a:p>
          <a:endParaRPr lang="pt-BR"/>
        </a:p>
      </dgm:t>
    </dgm:pt>
    <dgm:pt modelId="{7803BCF7-F0D7-4B1D-A3EF-8292C734420A}" type="pres">
      <dgm:prSet presAssocID="{57D3AE1B-73A5-48A4-9A09-1A300CDA4E8B}" presName="parComposite" presStyleCnt="0"/>
      <dgm:spPr/>
      <dgm:t>
        <a:bodyPr/>
        <a:lstStyle/>
        <a:p>
          <a:endParaRPr lang="pt-BR"/>
        </a:p>
      </dgm:t>
    </dgm:pt>
    <dgm:pt modelId="{F87B6F15-59C6-4659-B141-44CA8308F192}" type="pres">
      <dgm:prSet presAssocID="{57D3AE1B-73A5-48A4-9A09-1A300CDA4E8B}" presName="parBigCircle" presStyleLbl="node0" presStyleIdx="1" presStyleCnt="2"/>
      <dgm:spPr/>
      <dgm:t>
        <a:bodyPr/>
        <a:lstStyle/>
        <a:p>
          <a:endParaRPr lang="pt-BR"/>
        </a:p>
      </dgm:t>
    </dgm:pt>
    <dgm:pt modelId="{3EDE9DD2-3243-430B-BFDF-DB42C8C39F0F}" type="pres">
      <dgm:prSet presAssocID="{57D3AE1B-73A5-48A4-9A09-1A300CDA4E8B}" presName="parTx" presStyleLbl="revTx" presStyleIdx="9" presStyleCnt="20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  <dgm:t>
        <a:bodyPr/>
        <a:lstStyle/>
        <a:p>
          <a:endParaRPr lang="pt-BR"/>
        </a:p>
      </dgm:t>
    </dgm:pt>
    <dgm:pt modelId="{7F10A9E6-0663-41C6-93C4-F47FB7BD746A}" type="pres">
      <dgm:prSet presAssocID="{57D3AE1B-73A5-48A4-9A09-1A300CDA4E8B}" presName="parBackupNorm" presStyleCnt="0"/>
      <dgm:spPr/>
      <dgm:t>
        <a:bodyPr/>
        <a:lstStyle/>
        <a:p>
          <a:endParaRPr lang="pt-BR"/>
        </a:p>
      </dgm:t>
    </dgm:pt>
    <dgm:pt modelId="{77DCCE78-72A1-491E-BC8D-F3AF5E37D4A8}" type="pres">
      <dgm:prSet presAssocID="{9AF49E6B-4C65-4948-8F33-6E992478EDEF}" presName="parSpace" presStyleCnt="0"/>
      <dgm:spPr/>
      <dgm:t>
        <a:bodyPr/>
        <a:lstStyle/>
        <a:p>
          <a:endParaRPr lang="pt-BR"/>
        </a:p>
      </dgm:t>
    </dgm:pt>
    <dgm:pt modelId="{C74E053A-3AC0-4730-9A92-0F2249A35D8A}" type="pres">
      <dgm:prSet presAssocID="{31715DCE-1033-4F51-AA7E-996A37078C2B}" presName="desBackupLeftNorm" presStyleCnt="0"/>
      <dgm:spPr/>
      <dgm:t>
        <a:bodyPr/>
        <a:lstStyle/>
        <a:p>
          <a:endParaRPr lang="pt-BR"/>
        </a:p>
      </dgm:t>
    </dgm:pt>
    <dgm:pt modelId="{42921E3A-CF41-49D9-A8B2-F862DACD1455}" type="pres">
      <dgm:prSet presAssocID="{31715DCE-1033-4F51-AA7E-996A37078C2B}" presName="desComposite" presStyleCnt="0"/>
      <dgm:spPr/>
      <dgm:t>
        <a:bodyPr/>
        <a:lstStyle/>
        <a:p>
          <a:endParaRPr lang="pt-BR"/>
        </a:p>
      </dgm:t>
    </dgm:pt>
    <dgm:pt modelId="{8DBDFD54-FA06-4E78-B1F9-B5C24B106AA5}" type="pres">
      <dgm:prSet presAssocID="{31715DCE-1033-4F51-AA7E-996A37078C2B}" presName="desCircle" presStyleLbl="node1" presStyleIdx="4" presStyleCnt="9"/>
      <dgm:spPr/>
      <dgm:t>
        <a:bodyPr/>
        <a:lstStyle/>
        <a:p>
          <a:endParaRPr lang="pt-BR"/>
        </a:p>
      </dgm:t>
    </dgm:pt>
    <dgm:pt modelId="{EB6A5027-8CC0-4067-8103-7E8095435049}" type="pres">
      <dgm:prSet presAssocID="{31715DCE-1033-4F51-AA7E-996A37078C2B}" presName="chTx" presStyleLbl="revTx" presStyleIdx="10" presStyleCnt="20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57E965-1A58-4647-B54C-41301E78F91D}" type="pres">
      <dgm:prSet presAssocID="{31715DCE-1033-4F51-AA7E-996A37078C2B}" presName="desBackupRightNorm" presStyleCnt="0"/>
      <dgm:spPr/>
      <dgm:t>
        <a:bodyPr/>
        <a:lstStyle/>
        <a:p>
          <a:endParaRPr lang="pt-BR"/>
        </a:p>
      </dgm:t>
    </dgm:pt>
    <dgm:pt modelId="{2CE77E30-7D1E-4313-BA7A-72425E4B9296}" type="pres">
      <dgm:prSet presAssocID="{F9E991BD-6677-4EFD-8A6E-9B02290356F4}" presName="desSpace" presStyleCnt="0"/>
      <dgm:spPr/>
      <dgm:t>
        <a:bodyPr/>
        <a:lstStyle/>
        <a:p>
          <a:endParaRPr lang="pt-BR"/>
        </a:p>
      </dgm:t>
    </dgm:pt>
    <dgm:pt modelId="{C01DFA6D-43E5-4429-A9B3-E2886C2B08AB}" type="pres">
      <dgm:prSet presAssocID="{AD47C804-6BCC-4DBF-BB15-E03DC61E03B9}" presName="desBackupLeftNorm" presStyleCnt="0"/>
      <dgm:spPr/>
      <dgm:t>
        <a:bodyPr/>
        <a:lstStyle/>
        <a:p>
          <a:endParaRPr lang="pt-BR"/>
        </a:p>
      </dgm:t>
    </dgm:pt>
    <dgm:pt modelId="{7679D52D-7B5F-4A0F-9F3A-A6C3FF6AA255}" type="pres">
      <dgm:prSet presAssocID="{AD47C804-6BCC-4DBF-BB15-E03DC61E03B9}" presName="desComposite" presStyleCnt="0"/>
      <dgm:spPr/>
      <dgm:t>
        <a:bodyPr/>
        <a:lstStyle/>
        <a:p>
          <a:endParaRPr lang="pt-BR"/>
        </a:p>
      </dgm:t>
    </dgm:pt>
    <dgm:pt modelId="{98F6187D-F3FF-4676-8B83-7A42AA5EA52A}" type="pres">
      <dgm:prSet presAssocID="{AD47C804-6BCC-4DBF-BB15-E03DC61E03B9}" presName="desCircle" presStyleLbl="node1" presStyleIdx="5" presStyleCnt="9"/>
      <dgm:spPr/>
      <dgm:t>
        <a:bodyPr/>
        <a:lstStyle/>
        <a:p>
          <a:endParaRPr lang="pt-BR"/>
        </a:p>
      </dgm:t>
    </dgm:pt>
    <dgm:pt modelId="{BF4020F7-F215-45CC-8770-28C12A152C49}" type="pres">
      <dgm:prSet presAssocID="{AD47C804-6BCC-4DBF-BB15-E03DC61E03B9}" presName="chTx" presStyleLbl="revTx" presStyleIdx="12" presStyleCnt="20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A258DE-25B0-4EEC-AE45-3BD52C790DDE}" type="pres">
      <dgm:prSet presAssocID="{AD47C804-6BCC-4DBF-BB15-E03DC61E03B9}" presName="desBackupRightNorm" presStyleCnt="0"/>
      <dgm:spPr/>
      <dgm:t>
        <a:bodyPr/>
        <a:lstStyle/>
        <a:p>
          <a:endParaRPr lang="pt-BR"/>
        </a:p>
      </dgm:t>
    </dgm:pt>
    <dgm:pt modelId="{73CBFFD3-6A7B-4D17-8702-83FFF281EEA4}" type="pres">
      <dgm:prSet presAssocID="{EE2326E8-1323-4F79-A0FD-AE89729D24D6}" presName="desSpace" presStyleCnt="0"/>
      <dgm:spPr/>
      <dgm:t>
        <a:bodyPr/>
        <a:lstStyle/>
        <a:p>
          <a:endParaRPr lang="pt-BR"/>
        </a:p>
      </dgm:t>
    </dgm:pt>
    <dgm:pt modelId="{AF334E5A-D793-4FA0-A5C5-0D5AA4768030}" type="pres">
      <dgm:prSet presAssocID="{3BB52753-ADB0-4BB6-8892-2A780252071D}" presName="desBackupLeftNorm" presStyleCnt="0"/>
      <dgm:spPr/>
      <dgm:t>
        <a:bodyPr/>
        <a:lstStyle/>
        <a:p>
          <a:endParaRPr lang="pt-BR"/>
        </a:p>
      </dgm:t>
    </dgm:pt>
    <dgm:pt modelId="{52773FDC-4772-4F97-BC48-7D43FDF59697}" type="pres">
      <dgm:prSet presAssocID="{3BB52753-ADB0-4BB6-8892-2A780252071D}" presName="desComposite" presStyleCnt="0"/>
      <dgm:spPr/>
      <dgm:t>
        <a:bodyPr/>
        <a:lstStyle/>
        <a:p>
          <a:endParaRPr lang="pt-BR"/>
        </a:p>
      </dgm:t>
    </dgm:pt>
    <dgm:pt modelId="{285EB5AC-902D-472C-844D-916AF60547E4}" type="pres">
      <dgm:prSet presAssocID="{3BB52753-ADB0-4BB6-8892-2A780252071D}" presName="desCircle" presStyleLbl="node1" presStyleIdx="6" presStyleCnt="9"/>
      <dgm:spPr/>
      <dgm:t>
        <a:bodyPr/>
        <a:lstStyle/>
        <a:p>
          <a:endParaRPr lang="pt-BR"/>
        </a:p>
      </dgm:t>
    </dgm:pt>
    <dgm:pt modelId="{8CA68C6F-E3B6-46A7-A9B1-B780AB0310AB}" type="pres">
      <dgm:prSet presAssocID="{3BB52753-ADB0-4BB6-8892-2A780252071D}" presName="chTx" presStyleLbl="revTx" presStyleIdx="14" presStyleCnt="20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DE114B-FE75-4C07-93B2-1FFC0F4EA50E}" type="pres">
      <dgm:prSet presAssocID="{3BB52753-ADB0-4BB6-8892-2A780252071D}" presName="desBackupRightNorm" presStyleCnt="0"/>
      <dgm:spPr/>
      <dgm:t>
        <a:bodyPr/>
        <a:lstStyle/>
        <a:p>
          <a:endParaRPr lang="pt-BR"/>
        </a:p>
      </dgm:t>
    </dgm:pt>
    <dgm:pt modelId="{EACB1369-3186-4D39-944D-48FC110BAFF2}" type="pres">
      <dgm:prSet presAssocID="{1C8E540D-7B46-4518-9099-0937C9256430}" presName="desSpace" presStyleCnt="0"/>
      <dgm:spPr/>
      <dgm:t>
        <a:bodyPr/>
        <a:lstStyle/>
        <a:p>
          <a:endParaRPr lang="pt-BR"/>
        </a:p>
      </dgm:t>
    </dgm:pt>
    <dgm:pt modelId="{514ACA26-0E7A-4799-8323-8E78A018FE1A}" type="pres">
      <dgm:prSet presAssocID="{DBC45600-1869-4512-A3AB-AA97CD7EB4A9}" presName="desBackupLeftNorm" presStyleCnt="0"/>
      <dgm:spPr/>
      <dgm:t>
        <a:bodyPr/>
        <a:lstStyle/>
        <a:p>
          <a:endParaRPr lang="pt-BR"/>
        </a:p>
      </dgm:t>
    </dgm:pt>
    <dgm:pt modelId="{5A25D132-820E-44C3-AAA4-0E752E0B8155}" type="pres">
      <dgm:prSet presAssocID="{DBC45600-1869-4512-A3AB-AA97CD7EB4A9}" presName="desComposite" presStyleCnt="0"/>
      <dgm:spPr/>
      <dgm:t>
        <a:bodyPr/>
        <a:lstStyle/>
        <a:p>
          <a:endParaRPr lang="pt-BR"/>
        </a:p>
      </dgm:t>
    </dgm:pt>
    <dgm:pt modelId="{B554C5DC-DEEA-4AE2-942F-B531DCD6A4BC}" type="pres">
      <dgm:prSet presAssocID="{DBC45600-1869-4512-A3AB-AA97CD7EB4A9}" presName="desCircle" presStyleLbl="node1" presStyleIdx="7" presStyleCnt="9"/>
      <dgm:spPr/>
      <dgm:t>
        <a:bodyPr/>
        <a:lstStyle/>
        <a:p>
          <a:endParaRPr lang="pt-BR"/>
        </a:p>
      </dgm:t>
    </dgm:pt>
    <dgm:pt modelId="{D0E61BE3-08C2-42D5-B308-61E0BFDF64D4}" type="pres">
      <dgm:prSet presAssocID="{DBC45600-1869-4512-A3AB-AA97CD7EB4A9}" presName="chTx" presStyleLbl="revTx" presStyleIdx="16" presStyleCnt="20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886749-129F-4F94-8FDC-026B682698D1}" type="pres">
      <dgm:prSet presAssocID="{DBC45600-1869-4512-A3AB-AA97CD7EB4A9}" presName="desBackupRightNorm" presStyleCnt="0"/>
      <dgm:spPr/>
      <dgm:t>
        <a:bodyPr/>
        <a:lstStyle/>
        <a:p>
          <a:endParaRPr lang="pt-BR"/>
        </a:p>
      </dgm:t>
    </dgm:pt>
    <dgm:pt modelId="{AA708E94-3504-4DF0-823F-FB4565134AB9}" type="pres">
      <dgm:prSet presAssocID="{F882C3DF-3E75-4E91-BA5E-46A9A7E0E4AC}" presName="desSpace" presStyleCnt="0"/>
      <dgm:spPr/>
      <dgm:t>
        <a:bodyPr/>
        <a:lstStyle/>
        <a:p>
          <a:endParaRPr lang="pt-BR"/>
        </a:p>
      </dgm:t>
    </dgm:pt>
    <dgm:pt modelId="{72A47222-7749-4661-A2AF-8C4E7D69F1FD}" type="pres">
      <dgm:prSet presAssocID="{D3D679E8-8BB4-4301-8A72-28E361C78A32}" presName="desBackupLeftNorm" presStyleCnt="0"/>
      <dgm:spPr/>
      <dgm:t>
        <a:bodyPr/>
        <a:lstStyle/>
        <a:p>
          <a:endParaRPr lang="pt-BR"/>
        </a:p>
      </dgm:t>
    </dgm:pt>
    <dgm:pt modelId="{60290D84-22F4-40D2-838C-4E1970F94875}" type="pres">
      <dgm:prSet presAssocID="{D3D679E8-8BB4-4301-8A72-28E361C78A32}" presName="desComposite" presStyleCnt="0"/>
      <dgm:spPr/>
      <dgm:t>
        <a:bodyPr/>
        <a:lstStyle/>
        <a:p>
          <a:endParaRPr lang="pt-BR"/>
        </a:p>
      </dgm:t>
    </dgm:pt>
    <dgm:pt modelId="{17B6CC0B-51B2-49F4-99D4-5638832F0DB8}" type="pres">
      <dgm:prSet presAssocID="{D3D679E8-8BB4-4301-8A72-28E361C78A32}" presName="desCircle" presStyleLbl="node1" presStyleIdx="8" presStyleCnt="9"/>
      <dgm:spPr/>
      <dgm:t>
        <a:bodyPr/>
        <a:lstStyle/>
        <a:p>
          <a:endParaRPr lang="pt-BR"/>
        </a:p>
      </dgm:t>
    </dgm:pt>
    <dgm:pt modelId="{D911B9EF-06FF-4EFF-B38F-46F7111F856E}" type="pres">
      <dgm:prSet presAssocID="{D3D679E8-8BB4-4301-8A72-28E361C78A32}" presName="chTx" presStyleLbl="revTx" presStyleIdx="18" presStyleCnt="20"/>
      <dgm:spPr/>
      <dgm:t>
        <a:bodyPr/>
        <a:lstStyle/>
        <a:p>
          <a:endParaRPr lang="pt-BR"/>
        </a:p>
      </dgm:t>
    </dgm:pt>
    <dgm:pt modelId="{9F22E223-C03C-4A17-985E-B8945A116FFF}" type="pres">
      <dgm:prSet presAssocID="{D3D679E8-8BB4-4301-8A72-28E361C78A32}" presName="desTx" presStyleLbl="revTx" presStyleIdx="19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EB0A87-90C1-4AE9-8C2B-E508EB9E09A0}" type="pres">
      <dgm:prSet presAssocID="{D3D679E8-8BB4-4301-8A72-28E361C78A32}" presName="desBackupRightNorm" presStyleCnt="0"/>
      <dgm:spPr/>
      <dgm:t>
        <a:bodyPr/>
        <a:lstStyle/>
        <a:p>
          <a:endParaRPr lang="pt-BR"/>
        </a:p>
      </dgm:t>
    </dgm:pt>
    <dgm:pt modelId="{6785AC24-B12F-4FBA-A2E1-E2791399D68A}" type="pres">
      <dgm:prSet presAssocID="{5EFF03F7-4D5E-4385-A110-DBFD9FD0D1B1}" presName="desSpace" presStyleCnt="0"/>
      <dgm:spPr/>
      <dgm:t>
        <a:bodyPr/>
        <a:lstStyle/>
        <a:p>
          <a:endParaRPr lang="pt-BR"/>
        </a:p>
      </dgm:t>
    </dgm:pt>
  </dgm:ptLst>
  <dgm:cxnLst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9B6E3616-157E-4AD2-B766-02F884924717}" type="presOf" srcId="{C7C7A2F3-4812-4F69-970D-66ACBF5D1559}" destId="{6FC2B767-AFE4-4C94-BFD2-2853D88B54E5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723C1983-0D86-4400-927A-962F21E97D16}" type="presOf" srcId="{5A4F4D41-DDF6-494A-8DDF-DBA20DF76974}" destId="{593E5578-D846-4CF3-A9D5-73E453066575}" srcOrd="0" destOrd="0" presId="urn:microsoft.com/office/officeart/2008/layout/CircleAccentTimeline"/>
    <dgm:cxn modelId="{C9E21DA0-2457-4C0B-9D17-01267759B983}" type="presOf" srcId="{776EC1F7-996A-4DD0-A761-236B8084FE3C}" destId="{F56B5539-3C77-47E1-8754-B43314A96F14}" srcOrd="0" destOrd="0" presId="urn:microsoft.com/office/officeart/2008/layout/CircleAccentTimeline"/>
    <dgm:cxn modelId="{AAD69A32-7C1E-4430-9A5F-E68E6A5147F8}" srcId="{57D3AE1B-73A5-48A4-9A09-1A300CDA4E8B}" destId="{D3D679E8-8BB4-4301-8A72-28E361C78A32}" srcOrd="4" destOrd="0" parTransId="{5531F80A-1DCD-4AC7-8D81-F0376F2F2ECF}" sibTransId="{5EFF03F7-4D5E-4385-A110-DBFD9FD0D1B1}"/>
    <dgm:cxn modelId="{09E56710-7618-4C3C-BC5E-47C6A6AA5670}" type="presOf" srcId="{DBC45600-1869-4512-A3AB-AA97CD7EB4A9}" destId="{D0E61BE3-08C2-42D5-B308-61E0BFDF64D4}" srcOrd="0" destOrd="0" presId="urn:microsoft.com/office/officeart/2008/layout/CircleAccentTimeline"/>
    <dgm:cxn modelId="{12942AFA-89B1-4743-B8DD-9D2B2CFB3119}" type="presOf" srcId="{FD8CB35D-9AA8-4D3B-85BD-0C98676B30A3}" destId="{1A704293-4A00-4269-9793-84EF60BB46E7}" srcOrd="0" destOrd="0" presId="urn:microsoft.com/office/officeart/2008/layout/CircleAccentTimeline"/>
    <dgm:cxn modelId="{9FC67D68-7B47-4452-95DE-888C5EB11731}" type="presOf" srcId="{D3D679E8-8BB4-4301-8A72-28E361C78A32}" destId="{D911B9EF-06FF-4EFF-B38F-46F7111F856E}" srcOrd="0" destOrd="0" presId="urn:microsoft.com/office/officeart/2008/layout/CircleAccentTimeline"/>
    <dgm:cxn modelId="{53FEFBA6-E549-4B56-9364-650E27B890B0}" type="presOf" srcId="{3BB52753-ADB0-4BB6-8892-2A780252071D}" destId="{8CA68C6F-E3B6-46A7-A9B1-B780AB0310AB}" srcOrd="0" destOrd="0" presId="urn:microsoft.com/office/officeart/2008/layout/CircleAccentTimeline"/>
    <dgm:cxn modelId="{81F5675D-8D22-4648-8B19-57BE543549BF}" type="presOf" srcId="{57D3AE1B-73A5-48A4-9A09-1A300CDA4E8B}" destId="{3EDE9DD2-3243-430B-BFDF-DB42C8C39F0F}" srcOrd="0" destOrd="0" presId="urn:microsoft.com/office/officeart/2008/layout/CircleAccentTimeline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4F8F2CC3-A0DC-4E84-9352-21B8514091BF}" type="presOf" srcId="{AD47C804-6BCC-4DBF-BB15-E03DC61E03B9}" destId="{BF4020F7-F215-45CC-8770-28C12A152C49}" srcOrd="0" destOrd="0" presId="urn:microsoft.com/office/officeart/2008/layout/CircleAccentTimeline"/>
    <dgm:cxn modelId="{A4402329-CBE0-411B-B24E-FB13526F5DCA}" type="presOf" srcId="{7DC18236-30EB-4302-A4DA-2190886A08E9}" destId="{02CA001B-E24E-4625-8CFA-1A6C755C930E}" srcOrd="0" destOrd="0" presId="urn:microsoft.com/office/officeart/2008/layout/CircleAccentTimeline"/>
    <dgm:cxn modelId="{26B24FB8-DEA4-49AE-AD8F-90B134B81900}" type="presOf" srcId="{31715DCE-1033-4F51-AA7E-996A37078C2B}" destId="{EB6A5027-8CC0-4067-8103-7E8095435049}" srcOrd="0" destOrd="0" presId="urn:microsoft.com/office/officeart/2008/layout/CircleAccentTimeline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BD569AF1-6E8F-41F4-9355-457C05098B09}" type="presOf" srcId="{26566767-DCC0-4231-911B-DF7E9F672A5E}" destId="{6F73384A-DB24-4E9B-9313-3EFB3DDE8577}" srcOrd="0" destOrd="0" presId="urn:microsoft.com/office/officeart/2008/layout/CircleAccentTimeline"/>
    <dgm:cxn modelId="{BB07845C-774A-40BA-8E5E-3F0C1C7A9E42}" type="presParOf" srcId="{1A704293-4A00-4269-9793-84EF60BB46E7}" destId="{A4C70CCE-E506-430D-8CE9-E3F0C822F8C1}" srcOrd="0" destOrd="0" presId="urn:microsoft.com/office/officeart/2008/layout/CircleAccentTimeline"/>
    <dgm:cxn modelId="{D672DB55-2764-481B-81AF-FAE3856F635C}" type="presParOf" srcId="{A4C70CCE-E506-430D-8CE9-E3F0C822F8C1}" destId="{56AEF2CF-BD74-47E9-9224-4EAC05CF5B8D}" srcOrd="0" destOrd="0" presId="urn:microsoft.com/office/officeart/2008/layout/CircleAccentTimeline"/>
    <dgm:cxn modelId="{7363EC2B-C2B9-453C-A6B1-7B13F25C9CEB}" type="presParOf" srcId="{A4C70CCE-E506-430D-8CE9-E3F0C822F8C1}" destId="{6F73384A-DB24-4E9B-9313-3EFB3DDE8577}" srcOrd="1" destOrd="0" presId="urn:microsoft.com/office/officeart/2008/layout/CircleAccentTimeline"/>
    <dgm:cxn modelId="{FFAD0E21-5CF8-47C7-AC4A-86826A4313A0}" type="presParOf" srcId="{A4C70CCE-E506-430D-8CE9-E3F0C822F8C1}" destId="{12B297DC-E2BD-43F9-AB76-F334910D5A94}" srcOrd="2" destOrd="0" presId="urn:microsoft.com/office/officeart/2008/layout/CircleAccentTimeline"/>
    <dgm:cxn modelId="{9F21812E-8584-48C1-9C2B-911D66FAD941}" type="presParOf" srcId="{1A704293-4A00-4269-9793-84EF60BB46E7}" destId="{C054349A-9079-4978-A10C-80B4000B73E6}" srcOrd="1" destOrd="0" presId="urn:microsoft.com/office/officeart/2008/layout/CircleAccentTimeline"/>
    <dgm:cxn modelId="{4951805D-E0D1-416D-9A6D-D40CE2452556}" type="presParOf" srcId="{1A704293-4A00-4269-9793-84EF60BB46E7}" destId="{24C5703B-3128-468D-93D7-5B64EFF7DC5D}" srcOrd="2" destOrd="0" presId="urn:microsoft.com/office/officeart/2008/layout/CircleAccentTimeline"/>
    <dgm:cxn modelId="{DD8A84E7-F939-4198-9EE4-C97D020F132B}" type="presParOf" srcId="{1A704293-4A00-4269-9793-84EF60BB46E7}" destId="{C8C3D363-C41D-401A-AFB6-4434C784C1EC}" srcOrd="3" destOrd="0" presId="urn:microsoft.com/office/officeart/2008/layout/CircleAccentTimeline"/>
    <dgm:cxn modelId="{2BB9C42F-CFA1-4AB1-88CF-9A2C40C2B559}" type="presParOf" srcId="{1A704293-4A00-4269-9793-84EF60BB46E7}" destId="{F8A11BC1-02E6-4CDC-AF95-1C0410A3A4A7}" srcOrd="4" destOrd="0" presId="urn:microsoft.com/office/officeart/2008/layout/CircleAccentTimeline"/>
    <dgm:cxn modelId="{5F9105C8-800A-4795-9550-1B8469995EE7}" type="presParOf" srcId="{F8A11BC1-02E6-4CDC-AF95-1C0410A3A4A7}" destId="{988C035B-BE7B-49C8-9002-27080AEB6D54}" srcOrd="0" destOrd="0" presId="urn:microsoft.com/office/officeart/2008/layout/CircleAccentTimeline"/>
    <dgm:cxn modelId="{2211C6EE-2994-46AA-B134-5A2D09E69879}" type="presParOf" srcId="{F8A11BC1-02E6-4CDC-AF95-1C0410A3A4A7}" destId="{6FC2B767-AFE4-4C94-BFD2-2853D88B54E5}" srcOrd="1" destOrd="0" presId="urn:microsoft.com/office/officeart/2008/layout/CircleAccentTimeline"/>
    <dgm:cxn modelId="{0EA64122-3745-415B-807F-512B928D68EE}" type="presParOf" srcId="{F8A11BC1-02E6-4CDC-AF95-1C0410A3A4A7}" destId="{28CB7A41-49F4-4D56-842A-D68F369A6307}" srcOrd="2" destOrd="0" presId="urn:microsoft.com/office/officeart/2008/layout/CircleAccentTimeline"/>
    <dgm:cxn modelId="{CF6CD263-D3D2-445E-9FBF-51300DE4F158}" type="presParOf" srcId="{1A704293-4A00-4269-9793-84EF60BB46E7}" destId="{2E05AE3C-6A23-4215-B26B-538A0976C366}" srcOrd="5" destOrd="0" presId="urn:microsoft.com/office/officeart/2008/layout/CircleAccentTimeline"/>
    <dgm:cxn modelId="{89F6B536-8A94-4C66-A247-47D14D57FC37}" type="presParOf" srcId="{1A704293-4A00-4269-9793-84EF60BB46E7}" destId="{005D9CD6-8A5B-4B3C-9772-455DA646C6D5}" srcOrd="6" destOrd="0" presId="urn:microsoft.com/office/officeart/2008/layout/CircleAccentTimeline"/>
    <dgm:cxn modelId="{574E3C74-6EF8-45DA-84EF-0D45017412BA}" type="presParOf" srcId="{1A704293-4A00-4269-9793-84EF60BB46E7}" destId="{F5F5C2A5-CD2A-4BF3-9E7D-9CC3E927F990}" srcOrd="7" destOrd="0" presId="urn:microsoft.com/office/officeart/2008/layout/CircleAccentTimeline"/>
    <dgm:cxn modelId="{C8BF4B96-7F5E-4C20-8423-E843262694AB}" type="presParOf" srcId="{1A704293-4A00-4269-9793-84EF60BB46E7}" destId="{00904F4D-D009-481C-BDD7-C81BF30DD670}" srcOrd="8" destOrd="0" presId="urn:microsoft.com/office/officeart/2008/layout/CircleAccentTimeline"/>
    <dgm:cxn modelId="{CFA04631-D453-4A89-9595-9A6ADB88B253}" type="presParOf" srcId="{00904F4D-D009-481C-BDD7-C81BF30DD670}" destId="{46B25F0D-D431-4949-81A0-676174D34183}" srcOrd="0" destOrd="0" presId="urn:microsoft.com/office/officeart/2008/layout/CircleAccentTimeline"/>
    <dgm:cxn modelId="{D8835994-2483-4000-8157-19B7993CC401}" type="presParOf" srcId="{00904F4D-D009-481C-BDD7-C81BF30DD670}" destId="{593E5578-D846-4CF3-A9D5-73E453066575}" srcOrd="1" destOrd="0" presId="urn:microsoft.com/office/officeart/2008/layout/CircleAccentTimeline"/>
    <dgm:cxn modelId="{94E90D8C-B155-4993-82EF-062C74DF35F2}" type="presParOf" srcId="{00904F4D-D009-481C-BDD7-C81BF30DD670}" destId="{A1AA65C6-9A13-4697-920B-109CDD4DDA94}" srcOrd="2" destOrd="0" presId="urn:microsoft.com/office/officeart/2008/layout/CircleAccentTimeline"/>
    <dgm:cxn modelId="{0361BFD9-A2C6-4929-8F55-14A2703722CF}" type="presParOf" srcId="{1A704293-4A00-4269-9793-84EF60BB46E7}" destId="{6E357F85-05B6-4B53-9066-7FB07E9EAA3E}" srcOrd="9" destOrd="0" presId="urn:microsoft.com/office/officeart/2008/layout/CircleAccentTimeline"/>
    <dgm:cxn modelId="{B227F63B-C355-4609-9CC1-7C03578D5AA6}" type="presParOf" srcId="{1A704293-4A00-4269-9793-84EF60BB46E7}" destId="{387B4C12-958B-44D9-A807-6D6D9A880085}" srcOrd="10" destOrd="0" presId="urn:microsoft.com/office/officeart/2008/layout/CircleAccentTimeline"/>
    <dgm:cxn modelId="{17D0994C-615E-4B85-985A-E2A9600581A7}" type="presParOf" srcId="{1A704293-4A00-4269-9793-84EF60BB46E7}" destId="{84CCE456-9A31-4DEE-BAB7-3AAB4DB7BF78}" srcOrd="11" destOrd="0" presId="urn:microsoft.com/office/officeart/2008/layout/CircleAccentTimeline"/>
    <dgm:cxn modelId="{E2FFBB39-B2E7-4976-8FE5-2F1C297E7016}" type="presParOf" srcId="{1A704293-4A00-4269-9793-84EF60BB46E7}" destId="{DC73377C-628A-4405-9964-724C2189D1E3}" srcOrd="12" destOrd="0" presId="urn:microsoft.com/office/officeart/2008/layout/CircleAccentTimeline"/>
    <dgm:cxn modelId="{F6A8B59B-26BA-4A22-8BE3-34238DC8105D}" type="presParOf" srcId="{DC73377C-628A-4405-9964-724C2189D1E3}" destId="{3FC968D4-1463-4BB8-8E4F-74B77036556E}" srcOrd="0" destOrd="0" presId="urn:microsoft.com/office/officeart/2008/layout/CircleAccentTimeline"/>
    <dgm:cxn modelId="{B15FC607-D930-456B-B0FF-199CBA1039BC}" type="presParOf" srcId="{DC73377C-628A-4405-9964-724C2189D1E3}" destId="{02CA001B-E24E-4625-8CFA-1A6C755C930E}" srcOrd="1" destOrd="0" presId="urn:microsoft.com/office/officeart/2008/layout/CircleAccentTimeline"/>
    <dgm:cxn modelId="{AA4432D3-1DF1-45F3-82D7-8196C057566A}" type="presParOf" srcId="{DC73377C-628A-4405-9964-724C2189D1E3}" destId="{E0FD4796-E7AB-488D-9336-DB3CCBEFE335}" srcOrd="2" destOrd="0" presId="urn:microsoft.com/office/officeart/2008/layout/CircleAccentTimeline"/>
    <dgm:cxn modelId="{B044C700-8B52-46C1-9B12-4784C6F5C31F}" type="presParOf" srcId="{1A704293-4A00-4269-9793-84EF60BB46E7}" destId="{AE72B25E-0A65-488B-9C29-B1D763436A57}" srcOrd="13" destOrd="0" presId="urn:microsoft.com/office/officeart/2008/layout/CircleAccentTimeline"/>
    <dgm:cxn modelId="{F55EDC9C-7BE8-42E4-AC1C-767EEC73BDA6}" type="presParOf" srcId="{1A704293-4A00-4269-9793-84EF60BB46E7}" destId="{341DCFA4-81F2-46C5-B89F-D9D6359A3202}" srcOrd="14" destOrd="0" presId="urn:microsoft.com/office/officeart/2008/layout/CircleAccentTimeline"/>
    <dgm:cxn modelId="{D4C99CD3-1572-43FA-BAF4-5E281A83147F}" type="presParOf" srcId="{1A704293-4A00-4269-9793-84EF60BB46E7}" destId="{B5ECE69A-1709-46E5-B808-E420C4621320}" srcOrd="15" destOrd="0" presId="urn:microsoft.com/office/officeart/2008/layout/CircleAccentTimeline"/>
    <dgm:cxn modelId="{039DA607-9B88-481B-976E-05242A078086}" type="presParOf" srcId="{1A704293-4A00-4269-9793-84EF60BB46E7}" destId="{61EE79E8-884E-4AB3-BBC9-A66BAE573D68}" srcOrd="16" destOrd="0" presId="urn:microsoft.com/office/officeart/2008/layout/CircleAccentTimeline"/>
    <dgm:cxn modelId="{61C82934-EA3D-4781-A9B7-526668BFB940}" type="presParOf" srcId="{61EE79E8-884E-4AB3-BBC9-A66BAE573D68}" destId="{40C4B2F5-DDA6-41E2-B2AF-97E4F39909E6}" srcOrd="0" destOrd="0" presId="urn:microsoft.com/office/officeart/2008/layout/CircleAccentTimeline"/>
    <dgm:cxn modelId="{4C44AC95-89EA-40CE-89C2-E9B9DAD6A54D}" type="presParOf" srcId="{61EE79E8-884E-4AB3-BBC9-A66BAE573D68}" destId="{F56B5539-3C77-47E1-8754-B43314A96F14}" srcOrd="1" destOrd="0" presId="urn:microsoft.com/office/officeart/2008/layout/CircleAccentTimeline"/>
    <dgm:cxn modelId="{083C9165-5B06-4206-966D-CB999730116F}" type="presParOf" srcId="{61EE79E8-884E-4AB3-BBC9-A66BAE573D68}" destId="{0566B732-D545-48BE-881E-52A791DA4ABA}" srcOrd="2" destOrd="0" presId="urn:microsoft.com/office/officeart/2008/layout/CircleAccentTimeline"/>
    <dgm:cxn modelId="{9F006B40-1D0E-4A13-916D-1E77C1F6CD2E}" type="presParOf" srcId="{1A704293-4A00-4269-9793-84EF60BB46E7}" destId="{8B6973B3-817C-49CE-93D5-F952D3681F10}" srcOrd="17" destOrd="0" presId="urn:microsoft.com/office/officeart/2008/layout/CircleAccentTimeline"/>
    <dgm:cxn modelId="{0895458A-1494-4CDC-A14B-FBBAE893233E}" type="presParOf" srcId="{1A704293-4A00-4269-9793-84EF60BB46E7}" destId="{0E1C1D2A-502D-48CE-AEC8-7488D876E2ED}" srcOrd="18" destOrd="0" presId="urn:microsoft.com/office/officeart/2008/layout/CircleAccentTimeline"/>
    <dgm:cxn modelId="{37DB1903-36B1-4AC5-ACF9-68084A74FB14}" type="presParOf" srcId="{1A704293-4A00-4269-9793-84EF60BB46E7}" destId="{7803BCF7-F0D7-4B1D-A3EF-8292C734420A}" srcOrd="19" destOrd="0" presId="urn:microsoft.com/office/officeart/2008/layout/CircleAccentTimeline"/>
    <dgm:cxn modelId="{5E938EDA-E0C8-463E-A630-D313027B9086}" type="presParOf" srcId="{7803BCF7-F0D7-4B1D-A3EF-8292C734420A}" destId="{F87B6F15-59C6-4659-B141-44CA8308F192}" srcOrd="0" destOrd="0" presId="urn:microsoft.com/office/officeart/2008/layout/CircleAccentTimeline"/>
    <dgm:cxn modelId="{99BFB4AC-2DEE-4F7F-B15C-3957B1DB0AE9}" type="presParOf" srcId="{7803BCF7-F0D7-4B1D-A3EF-8292C734420A}" destId="{3EDE9DD2-3243-430B-BFDF-DB42C8C39F0F}" srcOrd="1" destOrd="0" presId="urn:microsoft.com/office/officeart/2008/layout/CircleAccentTimeline"/>
    <dgm:cxn modelId="{FE855B81-F183-4D73-BF9A-1B5295E1F1EE}" type="presParOf" srcId="{7803BCF7-F0D7-4B1D-A3EF-8292C734420A}" destId="{54070C43-6009-4E1C-BA92-33271047321C}" srcOrd="2" destOrd="0" presId="urn:microsoft.com/office/officeart/2008/layout/CircleAccentTimeline"/>
    <dgm:cxn modelId="{2692D344-AC5C-454C-B8BD-E8392781A0B2}" type="presParOf" srcId="{1A704293-4A00-4269-9793-84EF60BB46E7}" destId="{7F10A9E6-0663-41C6-93C4-F47FB7BD746A}" srcOrd="20" destOrd="0" presId="urn:microsoft.com/office/officeart/2008/layout/CircleAccentTimeline"/>
    <dgm:cxn modelId="{8DA226F5-AF15-4FB2-A183-31D16AB57BA5}" type="presParOf" srcId="{1A704293-4A00-4269-9793-84EF60BB46E7}" destId="{77DCCE78-72A1-491E-BC8D-F3AF5E37D4A8}" srcOrd="21" destOrd="0" presId="urn:microsoft.com/office/officeart/2008/layout/CircleAccentTimeline"/>
    <dgm:cxn modelId="{39F73706-60DD-4A11-857A-2CEE76A6E203}" type="presParOf" srcId="{1A704293-4A00-4269-9793-84EF60BB46E7}" destId="{C74E053A-3AC0-4730-9A92-0F2249A35D8A}" srcOrd="22" destOrd="0" presId="urn:microsoft.com/office/officeart/2008/layout/CircleAccentTimeline"/>
    <dgm:cxn modelId="{B1FF4F2F-268C-428F-B613-52D77A84D6BD}" type="presParOf" srcId="{1A704293-4A00-4269-9793-84EF60BB46E7}" destId="{42921E3A-CF41-49D9-A8B2-F862DACD1455}" srcOrd="23" destOrd="0" presId="urn:microsoft.com/office/officeart/2008/layout/CircleAccentTimeline"/>
    <dgm:cxn modelId="{AC4EC89F-B285-4312-BD40-90074D84B09F}" type="presParOf" srcId="{42921E3A-CF41-49D9-A8B2-F862DACD1455}" destId="{8DBDFD54-FA06-4E78-B1F9-B5C24B106AA5}" srcOrd="0" destOrd="0" presId="urn:microsoft.com/office/officeart/2008/layout/CircleAccentTimeline"/>
    <dgm:cxn modelId="{6CB17485-6B57-43E8-B843-D405DF37D2AC}" type="presParOf" srcId="{42921E3A-CF41-49D9-A8B2-F862DACD1455}" destId="{EB6A5027-8CC0-4067-8103-7E8095435049}" srcOrd="1" destOrd="0" presId="urn:microsoft.com/office/officeart/2008/layout/CircleAccentTimeline"/>
    <dgm:cxn modelId="{520EF553-A218-4806-A508-1355B694F5AB}" type="presParOf" srcId="{42921E3A-CF41-49D9-A8B2-F862DACD1455}" destId="{B8523729-5ED9-4781-9993-ED44EE714E76}" srcOrd="2" destOrd="0" presId="urn:microsoft.com/office/officeart/2008/layout/CircleAccentTimeline"/>
    <dgm:cxn modelId="{5D7E5FFF-DA18-4D0F-AE9D-7AB10D910FF1}" type="presParOf" srcId="{1A704293-4A00-4269-9793-84EF60BB46E7}" destId="{2157E965-1A58-4647-B54C-41301E78F91D}" srcOrd="24" destOrd="0" presId="urn:microsoft.com/office/officeart/2008/layout/CircleAccentTimeline"/>
    <dgm:cxn modelId="{767DB9C3-85F6-4662-A785-15EF55F7C242}" type="presParOf" srcId="{1A704293-4A00-4269-9793-84EF60BB46E7}" destId="{2CE77E30-7D1E-4313-BA7A-72425E4B9296}" srcOrd="25" destOrd="0" presId="urn:microsoft.com/office/officeart/2008/layout/CircleAccentTimeline"/>
    <dgm:cxn modelId="{67EF9F3E-F1EF-4FDE-89A9-A089EE56B040}" type="presParOf" srcId="{1A704293-4A00-4269-9793-84EF60BB46E7}" destId="{C01DFA6D-43E5-4429-A9B3-E2886C2B08AB}" srcOrd="26" destOrd="0" presId="urn:microsoft.com/office/officeart/2008/layout/CircleAccentTimeline"/>
    <dgm:cxn modelId="{EBDCEF63-2E2C-4E6D-9ED0-5F780E1A22ED}" type="presParOf" srcId="{1A704293-4A00-4269-9793-84EF60BB46E7}" destId="{7679D52D-7B5F-4A0F-9F3A-A6C3FF6AA255}" srcOrd="27" destOrd="0" presId="urn:microsoft.com/office/officeart/2008/layout/CircleAccentTimeline"/>
    <dgm:cxn modelId="{660457BA-A448-42A9-9C04-91C3D99A1F5D}" type="presParOf" srcId="{7679D52D-7B5F-4A0F-9F3A-A6C3FF6AA255}" destId="{98F6187D-F3FF-4676-8B83-7A42AA5EA52A}" srcOrd="0" destOrd="0" presId="urn:microsoft.com/office/officeart/2008/layout/CircleAccentTimeline"/>
    <dgm:cxn modelId="{51ABCD23-8EDD-465F-856E-58026CA835AF}" type="presParOf" srcId="{7679D52D-7B5F-4A0F-9F3A-A6C3FF6AA255}" destId="{BF4020F7-F215-45CC-8770-28C12A152C49}" srcOrd="1" destOrd="0" presId="urn:microsoft.com/office/officeart/2008/layout/CircleAccentTimeline"/>
    <dgm:cxn modelId="{51A5E6C4-FC89-46D4-8897-030BD67A8549}" type="presParOf" srcId="{7679D52D-7B5F-4A0F-9F3A-A6C3FF6AA255}" destId="{9D3D5B97-3DE5-4600-B2D0-2F52A3508BAB}" srcOrd="2" destOrd="0" presId="urn:microsoft.com/office/officeart/2008/layout/CircleAccentTimeline"/>
    <dgm:cxn modelId="{C2ABCBEB-C2E9-4A35-8E84-FDC105873954}" type="presParOf" srcId="{1A704293-4A00-4269-9793-84EF60BB46E7}" destId="{AAA258DE-25B0-4EEC-AE45-3BD52C790DDE}" srcOrd="28" destOrd="0" presId="urn:microsoft.com/office/officeart/2008/layout/CircleAccentTimeline"/>
    <dgm:cxn modelId="{24C9724D-496F-489D-94AE-6E8C74C04B32}" type="presParOf" srcId="{1A704293-4A00-4269-9793-84EF60BB46E7}" destId="{73CBFFD3-6A7B-4D17-8702-83FFF281EEA4}" srcOrd="29" destOrd="0" presId="urn:microsoft.com/office/officeart/2008/layout/CircleAccentTimeline"/>
    <dgm:cxn modelId="{81DEE47A-65C2-4FB8-B6FE-FE7953394CED}" type="presParOf" srcId="{1A704293-4A00-4269-9793-84EF60BB46E7}" destId="{AF334E5A-D793-4FA0-A5C5-0D5AA4768030}" srcOrd="30" destOrd="0" presId="urn:microsoft.com/office/officeart/2008/layout/CircleAccentTimeline"/>
    <dgm:cxn modelId="{2AA8D6FD-04FA-4669-AFD3-E35202B82253}" type="presParOf" srcId="{1A704293-4A00-4269-9793-84EF60BB46E7}" destId="{52773FDC-4772-4F97-BC48-7D43FDF59697}" srcOrd="31" destOrd="0" presId="urn:microsoft.com/office/officeart/2008/layout/CircleAccentTimeline"/>
    <dgm:cxn modelId="{026A08FA-9FCE-4A14-8D41-B927090A7646}" type="presParOf" srcId="{52773FDC-4772-4F97-BC48-7D43FDF59697}" destId="{285EB5AC-902D-472C-844D-916AF60547E4}" srcOrd="0" destOrd="0" presId="urn:microsoft.com/office/officeart/2008/layout/CircleAccentTimeline"/>
    <dgm:cxn modelId="{3D8F8B76-0B19-4061-854C-27F72C749D84}" type="presParOf" srcId="{52773FDC-4772-4F97-BC48-7D43FDF59697}" destId="{8CA68C6F-E3B6-46A7-A9B1-B780AB0310AB}" srcOrd="1" destOrd="0" presId="urn:microsoft.com/office/officeart/2008/layout/CircleAccentTimeline"/>
    <dgm:cxn modelId="{AD4469FA-90EF-49F6-A940-3DC6FB5F1281}" type="presParOf" srcId="{52773FDC-4772-4F97-BC48-7D43FDF59697}" destId="{2BF1D30D-A645-461B-8B53-6D37647F8F3F}" srcOrd="2" destOrd="0" presId="urn:microsoft.com/office/officeart/2008/layout/CircleAccentTimeline"/>
    <dgm:cxn modelId="{22FE05AC-27DF-43E0-8174-46C719C5CFAC}" type="presParOf" srcId="{1A704293-4A00-4269-9793-84EF60BB46E7}" destId="{62DE114B-FE75-4C07-93B2-1FFC0F4EA50E}" srcOrd="32" destOrd="0" presId="urn:microsoft.com/office/officeart/2008/layout/CircleAccentTimeline"/>
    <dgm:cxn modelId="{08199736-E68B-44BA-8707-5B29807B0882}" type="presParOf" srcId="{1A704293-4A00-4269-9793-84EF60BB46E7}" destId="{EACB1369-3186-4D39-944D-48FC110BAFF2}" srcOrd="33" destOrd="0" presId="urn:microsoft.com/office/officeart/2008/layout/CircleAccentTimeline"/>
    <dgm:cxn modelId="{F357B2AC-85DF-482E-8308-3788C05629BD}" type="presParOf" srcId="{1A704293-4A00-4269-9793-84EF60BB46E7}" destId="{514ACA26-0E7A-4799-8323-8E78A018FE1A}" srcOrd="34" destOrd="0" presId="urn:microsoft.com/office/officeart/2008/layout/CircleAccentTimeline"/>
    <dgm:cxn modelId="{0E00A007-26CF-4D33-B383-812049B05970}" type="presParOf" srcId="{1A704293-4A00-4269-9793-84EF60BB46E7}" destId="{5A25D132-820E-44C3-AAA4-0E752E0B8155}" srcOrd="35" destOrd="0" presId="urn:microsoft.com/office/officeart/2008/layout/CircleAccentTimeline"/>
    <dgm:cxn modelId="{0D63BA5D-429D-4168-89D0-C3978BCB49A2}" type="presParOf" srcId="{5A25D132-820E-44C3-AAA4-0E752E0B8155}" destId="{B554C5DC-DEEA-4AE2-942F-B531DCD6A4BC}" srcOrd="0" destOrd="0" presId="urn:microsoft.com/office/officeart/2008/layout/CircleAccentTimeline"/>
    <dgm:cxn modelId="{E0E7744E-8C96-4669-9EC5-B06AB1395984}" type="presParOf" srcId="{5A25D132-820E-44C3-AAA4-0E752E0B8155}" destId="{D0E61BE3-08C2-42D5-B308-61E0BFDF64D4}" srcOrd="1" destOrd="0" presId="urn:microsoft.com/office/officeart/2008/layout/CircleAccentTimeline"/>
    <dgm:cxn modelId="{7FB9267C-51DC-4A87-B8E6-5350A242084D}" type="presParOf" srcId="{5A25D132-820E-44C3-AAA4-0E752E0B8155}" destId="{0B76364A-724C-4D60-B742-8B2007D3D83F}" srcOrd="2" destOrd="0" presId="urn:microsoft.com/office/officeart/2008/layout/CircleAccentTimeline"/>
    <dgm:cxn modelId="{461D8064-2E2B-411A-898F-506040498018}" type="presParOf" srcId="{1A704293-4A00-4269-9793-84EF60BB46E7}" destId="{9F886749-129F-4F94-8FDC-026B682698D1}" srcOrd="36" destOrd="0" presId="urn:microsoft.com/office/officeart/2008/layout/CircleAccentTimeline"/>
    <dgm:cxn modelId="{27ABCAD0-B64D-4766-AA4B-FEEEB37B857E}" type="presParOf" srcId="{1A704293-4A00-4269-9793-84EF60BB46E7}" destId="{AA708E94-3504-4DF0-823F-FB4565134AB9}" srcOrd="37" destOrd="0" presId="urn:microsoft.com/office/officeart/2008/layout/CircleAccentTimeline"/>
    <dgm:cxn modelId="{D0A72F5F-327F-4DEC-A4FB-303A284138FB}" type="presParOf" srcId="{1A704293-4A00-4269-9793-84EF60BB46E7}" destId="{72A47222-7749-4661-A2AF-8C4E7D69F1FD}" srcOrd="38" destOrd="0" presId="urn:microsoft.com/office/officeart/2008/layout/CircleAccentTimeline"/>
    <dgm:cxn modelId="{D9F62BDE-9D76-4127-BEE6-0C6E876995BC}" type="presParOf" srcId="{1A704293-4A00-4269-9793-84EF60BB46E7}" destId="{60290D84-22F4-40D2-838C-4E1970F94875}" srcOrd="39" destOrd="0" presId="urn:microsoft.com/office/officeart/2008/layout/CircleAccentTimeline"/>
    <dgm:cxn modelId="{B7EE67AA-6AC6-48C8-9A87-30ABB44622E3}" type="presParOf" srcId="{60290D84-22F4-40D2-838C-4E1970F94875}" destId="{17B6CC0B-51B2-49F4-99D4-5638832F0DB8}" srcOrd="0" destOrd="0" presId="urn:microsoft.com/office/officeart/2008/layout/CircleAccentTimeline"/>
    <dgm:cxn modelId="{1B178BB6-CC83-4E27-B4ED-0BFED9B7027B}" type="presParOf" srcId="{60290D84-22F4-40D2-838C-4E1970F94875}" destId="{D911B9EF-06FF-4EFF-B38F-46F7111F856E}" srcOrd="1" destOrd="0" presId="urn:microsoft.com/office/officeart/2008/layout/CircleAccentTimeline"/>
    <dgm:cxn modelId="{B41C5D9E-D4E5-49DA-B234-0D87B6F6DC2E}" type="presParOf" srcId="{60290D84-22F4-40D2-838C-4E1970F94875}" destId="{9F22E223-C03C-4A17-985E-B8945A116FFF}" srcOrd="2" destOrd="0" presId="urn:microsoft.com/office/officeart/2008/layout/CircleAccentTimeline"/>
    <dgm:cxn modelId="{B02758A0-4DBC-469F-9168-0BACB0DDCD5F}" type="presParOf" srcId="{1A704293-4A00-4269-9793-84EF60BB46E7}" destId="{98EB0A87-90C1-4AE9-8C2B-E508EB9E09A0}" srcOrd="40" destOrd="0" presId="urn:microsoft.com/office/officeart/2008/layout/CircleAccentTimeline"/>
    <dgm:cxn modelId="{85376B37-4052-46C4-8F58-BB135EE2C88E}" type="presParOf" srcId="{1A704293-4A00-4269-9793-84EF60BB46E7}" destId="{6785AC24-B12F-4FBA-A2E1-E2791399D68A}" srcOrd="41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19850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5071D42-E771-43B3-90CA-52E039951A2C}" type="presOf" srcId="{22C8004B-A441-4F06-B14F-E6072A253398}" destId="{3014A0A9-B888-44B6-87FD-3FA34B8C82C9}" srcOrd="0" destOrd="0" presId="urn:microsoft.com/office/officeart/2005/8/layout/chevron1"/>
    <dgm:cxn modelId="{BB12B810-0FDF-4639-8886-DCC27B85D722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5513242F-4043-4F30-923D-4B1DD508EAB2}" type="presOf" srcId="{CC6DE7D9-FFFB-4048-A63C-05CB70202A8D}" destId="{0550EBE2-3CC1-4770-9B02-DDFB5E793DEB}" srcOrd="0" destOrd="0" presId="urn:microsoft.com/office/officeart/2005/8/layout/chevron1"/>
    <dgm:cxn modelId="{184402FF-39D7-491F-B997-6647F2B52E47}" type="presParOf" srcId="{3014A0A9-B888-44B6-87FD-3FA34B8C82C9}" destId="{186D22AC-C516-4D8C-AE22-0C650918D950}" srcOrd="0" destOrd="0" presId="urn:microsoft.com/office/officeart/2005/8/layout/chevron1"/>
    <dgm:cxn modelId="{DFD2518F-E5AD-46CD-AB35-29A755AC58F8}" type="presParOf" srcId="{3014A0A9-B888-44B6-87FD-3FA34B8C82C9}" destId="{47E3C63A-3CC1-478C-B991-43B301263277}" srcOrd="1" destOrd="0" presId="urn:microsoft.com/office/officeart/2005/8/layout/chevron1"/>
    <dgm:cxn modelId="{E88FAAD9-F38F-4CCC-906E-75C6AA91F97D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unda-feira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rça-feira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arta-feira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inta-feira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F7A2B4F1-53D7-478C-973A-73C8D7EF850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xta-feira</a:t>
          </a:r>
          <a:endParaRPr lang="pt-BR" dirty="0">
            <a:latin typeface="Simplon BP Regular" pitchFamily="2" charset="0"/>
          </a:endParaRPr>
        </a:p>
      </dgm:t>
    </dgm:pt>
    <dgm:pt modelId="{294B3C07-C4E3-4C3D-A038-B82A8EBA1F3F}" type="parTrans" cxnId="{F95CE164-7801-4CBD-8E83-E826265F172F}">
      <dgm:prSet/>
      <dgm:spPr/>
      <dgm:t>
        <a:bodyPr/>
        <a:lstStyle/>
        <a:p>
          <a:endParaRPr lang="pt-BR"/>
        </a:p>
      </dgm:t>
    </dgm:pt>
    <dgm:pt modelId="{2BA11EE1-A823-4583-A967-FA617565361B}" type="sibTrans" cxnId="{F95CE164-7801-4CBD-8E83-E826265F172F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5" custScaleX="110110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5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7F5BD-794C-4CFA-8261-B6E92A6A5BC2}" type="pres">
      <dgm:prSet presAssocID="{830AA4E2-EF09-45F7-BB27-EDDE45E7920F}" presName="parTxOnlySpace" presStyleCnt="0"/>
      <dgm:spPr/>
    </dgm:pt>
    <dgm:pt modelId="{CFE7FB2D-5E44-4218-85AD-E011C5731AF4}" type="pres">
      <dgm:prSet presAssocID="{F7A2B4F1-53D7-478C-973A-73C8D7EF8509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F95CE164-7801-4CBD-8E83-E826265F172F}" srcId="{22C8004B-A441-4F06-B14F-E6072A253398}" destId="{F7A2B4F1-53D7-478C-973A-73C8D7EF8509}" srcOrd="4" destOrd="0" parTransId="{294B3C07-C4E3-4C3D-A038-B82A8EBA1F3F}" sibTransId="{2BA11EE1-A823-4583-A967-FA617565361B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DA09F971-6DC2-4489-9108-70E8564087CF}" type="presOf" srcId="{FED77968-F6F6-44B9-888E-4C6443DE623B}" destId="{4B9CD59A-2F66-4026-8766-3B087A0BF111}" srcOrd="0" destOrd="0" presId="urn:microsoft.com/office/officeart/2005/8/layout/chevron1"/>
    <dgm:cxn modelId="{A7226803-F161-4AB3-BDC5-3A181B61646E}" type="presOf" srcId="{22C8004B-A441-4F06-B14F-E6072A253398}" destId="{3014A0A9-B888-44B6-87FD-3FA34B8C82C9}" srcOrd="0" destOrd="0" presId="urn:microsoft.com/office/officeart/2005/8/layout/chevron1"/>
    <dgm:cxn modelId="{88E55FA3-27C4-4178-A85C-08054FBE605C}" type="presOf" srcId="{64F72A13-369A-4017-812E-520789887620}" destId="{6BF36520-8AA0-4A43-B331-55C5B7C98C9D}" srcOrd="0" destOrd="0" presId="urn:microsoft.com/office/officeart/2005/8/layout/chevron1"/>
    <dgm:cxn modelId="{78913621-BCFB-4FEC-B8F7-BF27693EC26B}" type="presOf" srcId="{F7A2B4F1-53D7-478C-973A-73C8D7EF8509}" destId="{CFE7FB2D-5E44-4218-85AD-E011C5731AF4}" srcOrd="0" destOrd="0" presId="urn:microsoft.com/office/officeart/2005/8/layout/chevron1"/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BB4B5BE-5CA9-4318-BBF4-1EEF6761FE33}" type="presOf" srcId="{CC6DE7D9-FFFB-4048-A63C-05CB70202A8D}" destId="{0550EBE2-3CC1-4770-9B02-DDFB5E793DEB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9056CBB0-A409-4DCE-8AFD-3D41B66CD3ED}" type="presOf" srcId="{A5C9D6BD-7705-41D0-896B-39382DEF9DAB}" destId="{186D22AC-C516-4D8C-AE22-0C650918D950}" srcOrd="0" destOrd="0" presId="urn:microsoft.com/office/officeart/2005/8/layout/chevron1"/>
    <dgm:cxn modelId="{77970E76-3CB5-49A2-A6E9-FB1E33FD8A54}" type="presParOf" srcId="{3014A0A9-B888-44B6-87FD-3FA34B8C82C9}" destId="{186D22AC-C516-4D8C-AE22-0C650918D950}" srcOrd="0" destOrd="0" presId="urn:microsoft.com/office/officeart/2005/8/layout/chevron1"/>
    <dgm:cxn modelId="{72E76B2F-A2E4-4A2F-972A-26185F5EAEC5}" type="presParOf" srcId="{3014A0A9-B888-44B6-87FD-3FA34B8C82C9}" destId="{47E3C63A-3CC1-478C-B991-43B301263277}" srcOrd="1" destOrd="0" presId="urn:microsoft.com/office/officeart/2005/8/layout/chevron1"/>
    <dgm:cxn modelId="{BA682D89-0269-47B6-A0C3-56A0FD6D08A7}" type="presParOf" srcId="{3014A0A9-B888-44B6-87FD-3FA34B8C82C9}" destId="{0550EBE2-3CC1-4770-9B02-DDFB5E793DEB}" srcOrd="2" destOrd="0" presId="urn:microsoft.com/office/officeart/2005/8/layout/chevron1"/>
    <dgm:cxn modelId="{E80D07F1-05D6-4503-9EF2-F9DF0D5EFC60}" type="presParOf" srcId="{3014A0A9-B888-44B6-87FD-3FA34B8C82C9}" destId="{F74FCDA3-7548-4E1D-B303-B0E816C39017}" srcOrd="3" destOrd="0" presId="urn:microsoft.com/office/officeart/2005/8/layout/chevron1"/>
    <dgm:cxn modelId="{52B5855E-1E8D-481B-BFCA-9212145D9612}" type="presParOf" srcId="{3014A0A9-B888-44B6-87FD-3FA34B8C82C9}" destId="{4B9CD59A-2F66-4026-8766-3B087A0BF111}" srcOrd="4" destOrd="0" presId="urn:microsoft.com/office/officeart/2005/8/layout/chevron1"/>
    <dgm:cxn modelId="{3BAD5456-E2EB-43BD-9C7D-A6AB4A888AD6}" type="presParOf" srcId="{3014A0A9-B888-44B6-87FD-3FA34B8C82C9}" destId="{A0AB805B-C3F3-43BE-A6AC-1DE8E7971A35}" srcOrd="5" destOrd="0" presId="urn:microsoft.com/office/officeart/2005/8/layout/chevron1"/>
    <dgm:cxn modelId="{36F0190B-3018-498C-AD4A-A07C40AC3D80}" type="presParOf" srcId="{3014A0A9-B888-44B6-87FD-3FA34B8C82C9}" destId="{6BF36520-8AA0-4A43-B331-55C5B7C98C9D}" srcOrd="6" destOrd="0" presId="urn:microsoft.com/office/officeart/2005/8/layout/chevron1"/>
    <dgm:cxn modelId="{5D835A13-25DC-44B8-BB36-5B3C376F2918}" type="presParOf" srcId="{3014A0A9-B888-44B6-87FD-3FA34B8C82C9}" destId="{1C57F5BD-794C-4CFA-8261-B6E92A6A5BC2}" srcOrd="7" destOrd="0" presId="urn:microsoft.com/office/officeart/2005/8/layout/chevron1"/>
    <dgm:cxn modelId="{3724030E-D87D-4632-8604-122BCF28AA24}" type="presParOf" srcId="{3014A0A9-B888-44B6-87FD-3FA34B8C82C9}" destId="{CFE7FB2D-5E44-4218-85AD-E011C5731AF4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fra e SW base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Liberação de acessos </a:t>
          </a:r>
          <a:r>
            <a:rPr lang="pt-BR" dirty="0" err="1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</a:t>
          </a:r>
          <a:r>
            <a:rPr lang="pt-BR" dirty="0" err="1" smtClean="0">
              <a:latin typeface="Simplon BP Regular" pitchFamily="2" charset="0"/>
            </a:rPr>
            <a:t>Vanila</a:t>
          </a:r>
          <a:r>
            <a:rPr lang="pt-BR" dirty="0" smtClean="0">
              <a:latin typeface="Simplon BP Regular" pitchFamily="2" charset="0"/>
            </a:rPr>
            <a:t> RAID-FMS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de ondas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4" custScaleX="175611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4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2058290B-31B5-4671-916F-AB2B0626B0FF}" type="presOf" srcId="{FED77968-F6F6-44B9-888E-4C6443DE623B}" destId="{4B9CD59A-2F66-4026-8766-3B087A0BF111}" srcOrd="0" destOrd="0" presId="urn:microsoft.com/office/officeart/2005/8/layout/chevron1"/>
    <dgm:cxn modelId="{317F973B-25D7-4F19-B152-4773FD466B93}" type="presOf" srcId="{CC6DE7D9-FFFB-4048-A63C-05CB70202A8D}" destId="{0550EBE2-3CC1-4770-9B02-DDFB5E793DEB}" srcOrd="0" destOrd="0" presId="urn:microsoft.com/office/officeart/2005/8/layout/chevron1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22B4ACC2-D71A-4B43-BC68-4FF73F07CF94}" type="presOf" srcId="{64F72A13-369A-4017-812E-520789887620}" destId="{6BF36520-8AA0-4A43-B331-55C5B7C98C9D}" srcOrd="0" destOrd="0" presId="urn:microsoft.com/office/officeart/2005/8/layout/chevron1"/>
    <dgm:cxn modelId="{E3F6B98F-4F66-4998-9A84-5F9B597767D7}" type="presOf" srcId="{A5C9D6BD-7705-41D0-896B-39382DEF9DAB}" destId="{186D22AC-C516-4D8C-AE22-0C650918D950}" srcOrd="0" destOrd="0" presId="urn:microsoft.com/office/officeart/2005/8/layout/chevron1"/>
    <dgm:cxn modelId="{7A7AF68B-F22B-4608-AB6B-9DF519D1403A}" type="presOf" srcId="{22C8004B-A441-4F06-B14F-E6072A253398}" destId="{3014A0A9-B888-44B6-87FD-3FA34B8C82C9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E1E59465-DFD3-4B70-AF4D-EAADB5423510}" type="presParOf" srcId="{3014A0A9-B888-44B6-87FD-3FA34B8C82C9}" destId="{186D22AC-C516-4D8C-AE22-0C650918D950}" srcOrd="0" destOrd="0" presId="urn:microsoft.com/office/officeart/2005/8/layout/chevron1"/>
    <dgm:cxn modelId="{7C715FDC-B511-4806-A355-159540540A45}" type="presParOf" srcId="{3014A0A9-B888-44B6-87FD-3FA34B8C82C9}" destId="{47E3C63A-3CC1-478C-B991-43B301263277}" srcOrd="1" destOrd="0" presId="urn:microsoft.com/office/officeart/2005/8/layout/chevron1"/>
    <dgm:cxn modelId="{F1E472DF-0C8F-4853-9E7F-7EDEE7AFA502}" type="presParOf" srcId="{3014A0A9-B888-44B6-87FD-3FA34B8C82C9}" destId="{0550EBE2-3CC1-4770-9B02-DDFB5E793DEB}" srcOrd="2" destOrd="0" presId="urn:microsoft.com/office/officeart/2005/8/layout/chevron1"/>
    <dgm:cxn modelId="{8BD3A934-8F7A-4486-9EDA-D73E0A3EA77C}" type="presParOf" srcId="{3014A0A9-B888-44B6-87FD-3FA34B8C82C9}" destId="{F74FCDA3-7548-4E1D-B303-B0E816C39017}" srcOrd="3" destOrd="0" presId="urn:microsoft.com/office/officeart/2005/8/layout/chevron1"/>
    <dgm:cxn modelId="{8A66A2CB-8CC0-4A99-BFB6-2FF7CEB5BB9C}" type="presParOf" srcId="{3014A0A9-B888-44B6-87FD-3FA34B8C82C9}" destId="{4B9CD59A-2F66-4026-8766-3B087A0BF111}" srcOrd="4" destOrd="0" presId="urn:microsoft.com/office/officeart/2005/8/layout/chevron1"/>
    <dgm:cxn modelId="{43EF740C-9481-4D32-95BA-434869188FFF}" type="presParOf" srcId="{3014A0A9-B888-44B6-87FD-3FA34B8C82C9}" destId="{A0AB805B-C3F3-43BE-A6AC-1DE8E7971A35}" srcOrd="5" destOrd="0" presId="urn:microsoft.com/office/officeart/2005/8/layout/chevron1"/>
    <dgm:cxn modelId="{EDD6101B-07C1-4C39-8020-DFD802E7E50F}" type="presParOf" srcId="{3014A0A9-B888-44B6-87FD-3FA34B8C82C9}" destId="{6BF36520-8AA0-4A43-B331-55C5B7C98C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1B322-3BEE-4A39-A74E-0743729EF641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2600000"/>
            <a:gd name="adj2" fmla="val 16200000"/>
            <a:gd name="adj3" fmla="val 4487"/>
          </a:avLst>
        </a:prstGeom>
        <a:solidFill>
          <a:schemeClr val="accent5">
            <a:shade val="90000"/>
            <a:hueOff val="-823573"/>
            <a:satOff val="-76963"/>
            <a:lumOff val="495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9B882E-7BAE-40E6-81B0-3918E9F61082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9000000"/>
            <a:gd name="adj2" fmla="val 12600000"/>
            <a:gd name="adj3" fmla="val 4487"/>
          </a:avLst>
        </a:prstGeom>
        <a:solidFill>
          <a:schemeClr val="accent5">
            <a:shade val="90000"/>
            <a:hueOff val="-658858"/>
            <a:satOff val="-61570"/>
            <a:lumOff val="3961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8964B4-47FD-4BCD-9DAE-27ED367659A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5400000"/>
            <a:gd name="adj2" fmla="val 9000000"/>
            <a:gd name="adj3" fmla="val 4487"/>
          </a:avLst>
        </a:prstGeom>
        <a:solidFill>
          <a:schemeClr val="accent5">
            <a:shade val="90000"/>
            <a:hueOff val="-494144"/>
            <a:satOff val="-46178"/>
            <a:lumOff val="2971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956C06-BCDF-4AF7-99D0-0999AEFFC186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800000"/>
            <a:gd name="adj2" fmla="val 5400000"/>
            <a:gd name="adj3" fmla="val 4487"/>
          </a:avLst>
        </a:prstGeom>
        <a:solidFill>
          <a:schemeClr val="accent5">
            <a:shade val="90000"/>
            <a:hueOff val="-329429"/>
            <a:satOff val="-30785"/>
            <a:lumOff val="1980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851C51-11B9-431E-9DFB-635E13DF604D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9800000"/>
            <a:gd name="adj2" fmla="val 1800000"/>
            <a:gd name="adj3" fmla="val 4487"/>
          </a:avLst>
        </a:prstGeom>
        <a:solidFill>
          <a:schemeClr val="accent5">
            <a:shade val="90000"/>
            <a:hueOff val="-164715"/>
            <a:satOff val="-15393"/>
            <a:lumOff val="990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024BFF-B69F-4885-A06C-A990A1EC162F}">
      <dsp:nvSpPr>
        <dsp:cNvPr id="0" name=""/>
        <dsp:cNvSpPr/>
      </dsp:nvSpPr>
      <dsp:spPr>
        <a:xfrm>
          <a:off x="742985" y="270985"/>
          <a:ext cx="1869753" cy="1869753"/>
        </a:xfrm>
        <a:prstGeom prst="blockArc">
          <a:avLst>
            <a:gd name="adj1" fmla="val 16200000"/>
            <a:gd name="adj2" fmla="val 19800000"/>
            <a:gd name="adj3" fmla="val 4487"/>
          </a:avLst>
        </a:prstGeom>
        <a:solidFill>
          <a:schemeClr val="accent5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9BA255-6875-4FC9-AC82-56BD39CABFE7}">
      <dsp:nvSpPr>
        <dsp:cNvPr id="0" name=""/>
        <dsp:cNvSpPr/>
      </dsp:nvSpPr>
      <dsp:spPr>
        <a:xfrm>
          <a:off x="1261673" y="789673"/>
          <a:ext cx="832377" cy="832377"/>
        </a:xfrm>
        <a:prstGeom prst="ellipse">
          <a:avLst/>
        </a:prstGeom>
        <a:solidFill>
          <a:schemeClr val="accent5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300" kern="1200" dirty="0" smtClean="0">
              <a:latin typeface="Simplon BP Regular" pitchFamily="2" charset="0"/>
            </a:rPr>
            <a:t>FMS</a:t>
          </a:r>
          <a:endParaRPr lang="pt-BR" sz="2300" kern="1200" dirty="0">
            <a:latin typeface="Simplon BP Regular" pitchFamily="2" charset="0"/>
          </a:endParaRPr>
        </a:p>
      </dsp:txBody>
      <dsp:txXfrm>
        <a:off x="1383572" y="911572"/>
        <a:ext cx="588579" cy="588579"/>
      </dsp:txXfrm>
    </dsp:sp>
    <dsp:sp modelId="{2B4CAB2E-1A0B-4830-9298-A4369C6FF292}">
      <dsp:nvSpPr>
        <dsp:cNvPr id="0" name=""/>
        <dsp:cNvSpPr/>
      </dsp:nvSpPr>
      <dsp:spPr>
        <a:xfrm>
          <a:off x="1386530" y="62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DIGITAL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85958"/>
        <a:ext cx="412005" cy="412005"/>
      </dsp:txXfrm>
    </dsp:sp>
    <dsp:sp modelId="{8D551815-3B6C-4805-8952-F91BF108D8F5}">
      <dsp:nvSpPr>
        <dsp:cNvPr id="0" name=""/>
        <dsp:cNvSpPr/>
      </dsp:nvSpPr>
      <dsp:spPr>
        <a:xfrm>
          <a:off x="2177991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VENDAS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542908"/>
        <a:ext cx="412005" cy="412005"/>
      </dsp:txXfrm>
    </dsp:sp>
    <dsp:sp modelId="{E96ED2BC-7F66-49BF-87BF-4063B76ECCE1}">
      <dsp:nvSpPr>
        <dsp:cNvPr id="0" name=""/>
        <dsp:cNvSpPr/>
      </dsp:nvSpPr>
      <dsp:spPr>
        <a:xfrm>
          <a:off x="2177991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ATIVAÇÂO</a:t>
          </a:r>
          <a:endParaRPr lang="pt-BR" sz="700" kern="1200" dirty="0">
            <a:latin typeface="Simplon BP Regular" pitchFamily="2" charset="0"/>
          </a:endParaRPr>
        </a:p>
      </dsp:txBody>
      <dsp:txXfrm>
        <a:off x="2263320" y="1456809"/>
        <a:ext cx="412005" cy="412005"/>
      </dsp:txXfrm>
    </dsp:sp>
    <dsp:sp modelId="{B97EF70B-6154-410F-985C-9C1FE38BB469}">
      <dsp:nvSpPr>
        <dsp:cNvPr id="0" name=""/>
        <dsp:cNvSpPr/>
      </dsp:nvSpPr>
      <dsp:spPr>
        <a:xfrm>
          <a:off x="1386530" y="182843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CRÉDITO</a:t>
          </a:r>
          <a:endParaRPr lang="pt-BR" sz="700" kern="1200" dirty="0">
            <a:latin typeface="Simplon BP Regular" pitchFamily="2" charset="0"/>
          </a:endParaRPr>
        </a:p>
      </dsp:txBody>
      <dsp:txXfrm>
        <a:off x="1471859" y="1913759"/>
        <a:ext cx="412005" cy="412005"/>
      </dsp:txXfrm>
    </dsp:sp>
    <dsp:sp modelId="{FAEA06C7-9021-4548-862C-93C9F1ADC6E4}">
      <dsp:nvSpPr>
        <dsp:cNvPr id="0" name=""/>
        <dsp:cNvSpPr/>
      </dsp:nvSpPr>
      <dsp:spPr>
        <a:xfrm>
          <a:off x="595069" y="1371480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SEGINF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1456809"/>
        <a:ext cx="412005" cy="412005"/>
      </dsp:txXfrm>
    </dsp:sp>
    <dsp:sp modelId="{20365B38-D7BF-4500-88FE-AF174FA7A1EE}">
      <dsp:nvSpPr>
        <dsp:cNvPr id="0" name=""/>
        <dsp:cNvSpPr/>
      </dsp:nvSpPr>
      <dsp:spPr>
        <a:xfrm>
          <a:off x="595069" y="457579"/>
          <a:ext cx="582663" cy="582663"/>
        </a:xfrm>
        <a:prstGeom prst="ellipse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700" kern="1200" dirty="0" smtClean="0">
              <a:latin typeface="Simplon BP Regular" pitchFamily="2" charset="0"/>
            </a:rPr>
            <a:t>JEC</a:t>
          </a:r>
          <a:endParaRPr lang="pt-BR" sz="700" kern="1200" dirty="0">
            <a:latin typeface="Simplon BP Regular" pitchFamily="2" charset="0"/>
          </a:endParaRPr>
        </a:p>
      </dsp:txBody>
      <dsp:txXfrm>
        <a:off x="680398" y="542908"/>
        <a:ext cx="412005" cy="4120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431275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Setup inicial do Projeto RAID-FMS</a:t>
          </a:r>
          <a:endParaRPr lang="pt-BR" sz="1300" kern="1200" dirty="0">
            <a:latin typeface="Simplon BP Regular" pitchFamily="2" charset="0"/>
          </a:endParaRPr>
        </a:p>
      </dsp:txBody>
      <dsp:txXfrm>
        <a:off x="431275" y="697295"/>
        <a:ext cx="1509521" cy="727472"/>
      </dsp:txXfrm>
    </dsp:sp>
    <dsp:sp modelId="{988C035B-BE7B-49C8-9002-27080AEB6D54}">
      <dsp:nvSpPr>
        <dsp:cNvPr id="0" name=""/>
        <dsp:cNvSpPr/>
      </dsp:nvSpPr>
      <dsp:spPr>
        <a:xfrm>
          <a:off x="1309182" y="1979208"/>
          <a:ext cx="630303" cy="630303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B767-AFE4-4C94-BFD2-2853D88B54E5}">
      <dsp:nvSpPr>
        <dsp:cNvPr id="0" name=""/>
        <dsp:cNvSpPr/>
      </dsp:nvSpPr>
      <dsp:spPr>
        <a:xfrm rot="17700000">
          <a:off x="562674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Arquitetura física </a:t>
          </a:r>
          <a:endParaRPr lang="pt-BR" sz="1300" kern="1200" dirty="0">
            <a:latin typeface="Simplon BP Regular" pitchFamily="2" charset="0"/>
          </a:endParaRPr>
        </a:p>
      </dsp:txBody>
      <dsp:txXfrm>
        <a:off x="562674" y="2856490"/>
        <a:ext cx="1305806" cy="629611"/>
      </dsp:txXfrm>
    </dsp:sp>
    <dsp:sp modelId="{28CB7A41-49F4-4D56-842A-D68F369A6307}">
      <dsp:nvSpPr>
        <dsp:cNvPr id="0" name=""/>
        <dsp:cNvSpPr/>
      </dsp:nvSpPr>
      <dsp:spPr>
        <a:xfrm rot="17700000">
          <a:off x="1380187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B25F0D-D431-4949-81A0-676174D34183}">
      <dsp:nvSpPr>
        <dsp:cNvPr id="0" name=""/>
        <dsp:cNvSpPr/>
      </dsp:nvSpPr>
      <dsp:spPr>
        <a:xfrm>
          <a:off x="2030854" y="1979208"/>
          <a:ext cx="630303" cy="630303"/>
        </a:xfrm>
        <a:prstGeom prst="ellipse">
          <a:avLst/>
        </a:prstGeom>
        <a:solidFill>
          <a:schemeClr val="accent6">
            <a:shade val="80000"/>
            <a:hueOff val="62227"/>
            <a:satOff val="-4236"/>
            <a:lumOff val="50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128434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NDS e </a:t>
          </a:r>
          <a:r>
            <a:rPr lang="pt-BR" sz="1300" kern="1200" dirty="0" err="1" smtClean="0">
              <a:latin typeface="Simplon BP Regular" pitchFamily="2" charset="0"/>
            </a:rPr>
            <a:t>Compliance</a:t>
          </a:r>
          <a:r>
            <a:rPr lang="pt-BR" sz="1300" kern="1200" dirty="0" smtClean="0">
              <a:latin typeface="Simplon BP Regular" pitchFamily="2" charset="0"/>
            </a:rPr>
            <a:t> SI</a:t>
          </a:r>
          <a:endParaRPr lang="pt-BR" sz="1300" kern="1200" dirty="0">
            <a:latin typeface="Simplon BP Regular" pitchFamily="2" charset="0"/>
          </a:endParaRPr>
        </a:p>
      </dsp:txBody>
      <dsp:txXfrm>
        <a:off x="1284346" y="2856490"/>
        <a:ext cx="1305806" cy="629611"/>
      </dsp:txXfrm>
    </dsp:sp>
    <dsp:sp modelId="{A1AA65C6-9A13-4697-920B-109CDD4DDA94}">
      <dsp:nvSpPr>
        <dsp:cNvPr id="0" name=""/>
        <dsp:cNvSpPr/>
      </dsp:nvSpPr>
      <dsp:spPr>
        <a:xfrm rot="17700000">
          <a:off x="2101859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752527" y="1979208"/>
          <a:ext cx="630303" cy="630303"/>
        </a:xfrm>
        <a:prstGeom prst="ellipse">
          <a:avLst/>
        </a:prstGeom>
        <a:solidFill>
          <a:schemeClr val="accent6">
            <a:shade val="80000"/>
            <a:hueOff val="124455"/>
            <a:satOff val="-8471"/>
            <a:lumOff val="10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2006019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Instalação FMS </a:t>
          </a:r>
          <a:r>
            <a:rPr lang="pt-BR" sz="1300" kern="1200" dirty="0" err="1" smtClean="0">
              <a:latin typeface="Simplon BP Regular" pitchFamily="2" charset="0"/>
            </a:rPr>
            <a:t>vanila</a:t>
          </a:r>
          <a:endParaRPr lang="pt-BR" sz="1300" kern="1200" dirty="0">
            <a:latin typeface="Simplon BP Regular" pitchFamily="2" charset="0"/>
          </a:endParaRPr>
        </a:p>
      </dsp:txBody>
      <dsp:txXfrm>
        <a:off x="2006019" y="2856490"/>
        <a:ext cx="1305806" cy="629611"/>
      </dsp:txXfrm>
    </dsp:sp>
    <dsp:sp modelId="{E0FD4796-E7AB-488D-9336-DB3CCBEFE335}">
      <dsp:nvSpPr>
        <dsp:cNvPr id="0" name=""/>
        <dsp:cNvSpPr/>
      </dsp:nvSpPr>
      <dsp:spPr>
        <a:xfrm rot="17700000">
          <a:off x="2823531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474199" y="1979208"/>
          <a:ext cx="630303" cy="630303"/>
        </a:xfrm>
        <a:prstGeom prst="ellipse">
          <a:avLst/>
        </a:prstGeom>
        <a:solidFill>
          <a:schemeClr val="accent6">
            <a:shade val="80000"/>
            <a:hueOff val="186682"/>
            <a:satOff val="-12707"/>
            <a:lumOff val="1503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727691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lanejamento, </a:t>
          </a:r>
          <a:r>
            <a:rPr lang="pt-BR" sz="1300" kern="1200" dirty="0" err="1" smtClean="0">
              <a:latin typeface="Simplon BP Regular" pitchFamily="2" charset="0"/>
            </a:rPr>
            <a:t>scoping</a:t>
          </a:r>
          <a:r>
            <a:rPr lang="pt-BR" sz="1300" kern="1200" dirty="0" smtClean="0">
              <a:latin typeface="Simplon BP Regular" pitchFamily="2" charset="0"/>
            </a:rPr>
            <a:t> e </a:t>
          </a:r>
          <a:r>
            <a:rPr lang="pt-BR" sz="1300" kern="1200" dirty="0" err="1" smtClean="0">
              <a:latin typeface="Simplon BP Regular" pitchFamily="2" charset="0"/>
            </a:rPr>
            <a:t>Kick</a:t>
          </a:r>
          <a:r>
            <a:rPr lang="pt-BR" sz="1300" kern="1200" dirty="0" smtClean="0">
              <a:latin typeface="Simplon BP Regular" pitchFamily="2" charset="0"/>
            </a:rPr>
            <a:t>-off Programa 1</a:t>
          </a:r>
          <a:endParaRPr lang="pt-BR" sz="1300" kern="1200" dirty="0">
            <a:latin typeface="Simplon BP Regular" pitchFamily="2" charset="0"/>
          </a:endParaRPr>
        </a:p>
      </dsp:txBody>
      <dsp:txXfrm>
        <a:off x="2727691" y="2856490"/>
        <a:ext cx="1305806" cy="629611"/>
      </dsp:txXfrm>
    </dsp:sp>
    <dsp:sp modelId="{0566B732-D545-48BE-881E-52A791DA4ABA}">
      <dsp:nvSpPr>
        <dsp:cNvPr id="0" name=""/>
        <dsp:cNvSpPr/>
      </dsp:nvSpPr>
      <dsp:spPr>
        <a:xfrm rot="17700000">
          <a:off x="3545204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4195968" y="1687205"/>
          <a:ext cx="1214309" cy="1214309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4623836" y="697295"/>
          <a:ext cx="1509521" cy="72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0" rIns="0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Programa 1 Cadastro/Subscrição e Score externo</a:t>
          </a:r>
          <a:endParaRPr lang="pt-BR" sz="1300" kern="1200" dirty="0">
            <a:latin typeface="Simplon BP Regular" pitchFamily="2" charset="0"/>
          </a:endParaRPr>
        </a:p>
      </dsp:txBody>
      <dsp:txXfrm>
        <a:off x="4623836" y="697295"/>
        <a:ext cx="1509521" cy="727472"/>
      </dsp:txXfrm>
    </dsp:sp>
    <dsp:sp modelId="{8DBDFD54-FA06-4E78-B1F9-B5C24B106AA5}">
      <dsp:nvSpPr>
        <dsp:cNvPr id="0" name=""/>
        <dsp:cNvSpPr/>
      </dsp:nvSpPr>
      <dsp:spPr>
        <a:xfrm>
          <a:off x="5501744" y="1979208"/>
          <a:ext cx="630303" cy="630303"/>
        </a:xfrm>
        <a:prstGeom prst="ellipse">
          <a:avLst/>
        </a:prstGeom>
        <a:solidFill>
          <a:schemeClr val="accent6">
            <a:shade val="80000"/>
            <a:hueOff val="248909"/>
            <a:satOff val="-16942"/>
            <a:lumOff val="2004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4755236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4755236" y="2856490"/>
        <a:ext cx="1305806" cy="629611"/>
      </dsp:txXfrm>
    </dsp:sp>
    <dsp:sp modelId="{B8523729-5ED9-4781-9993-ED44EE714E76}">
      <dsp:nvSpPr>
        <dsp:cNvPr id="0" name=""/>
        <dsp:cNvSpPr/>
      </dsp:nvSpPr>
      <dsp:spPr>
        <a:xfrm rot="17700000">
          <a:off x="5572748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6223416" y="1979208"/>
          <a:ext cx="630303" cy="630303"/>
        </a:xfrm>
        <a:prstGeom prst="ellipse">
          <a:avLst/>
        </a:prstGeom>
        <a:solidFill>
          <a:schemeClr val="accent6">
            <a:shade val="80000"/>
            <a:hueOff val="311137"/>
            <a:satOff val="-21178"/>
            <a:lumOff val="2505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5476908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Fixo R2 off-line</a:t>
          </a:r>
          <a:endParaRPr lang="pt-BR" sz="1300" kern="1200" dirty="0">
            <a:latin typeface="Simplon BP Regular" pitchFamily="2" charset="0"/>
          </a:endParaRPr>
        </a:p>
      </dsp:txBody>
      <dsp:txXfrm>
        <a:off x="5476908" y="2856490"/>
        <a:ext cx="1305806" cy="629611"/>
      </dsp:txXfrm>
    </dsp:sp>
    <dsp:sp modelId="{9D3D5B97-3DE5-4600-B2D0-2F52A3508BAB}">
      <dsp:nvSpPr>
        <dsp:cNvPr id="0" name=""/>
        <dsp:cNvSpPr/>
      </dsp:nvSpPr>
      <dsp:spPr>
        <a:xfrm rot="17700000">
          <a:off x="6294420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6945088" y="1979208"/>
          <a:ext cx="630303" cy="630303"/>
        </a:xfrm>
        <a:prstGeom prst="ellipse">
          <a:avLst/>
        </a:prstGeom>
        <a:solidFill>
          <a:schemeClr val="accent6">
            <a:shade val="80000"/>
            <a:hueOff val="373364"/>
            <a:satOff val="-25413"/>
            <a:lumOff val="300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6198580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OI TV Online</a:t>
          </a:r>
          <a:endParaRPr lang="pt-BR" sz="1300" kern="1200" dirty="0">
            <a:latin typeface="Simplon BP Regular" pitchFamily="2" charset="0"/>
          </a:endParaRPr>
        </a:p>
      </dsp:txBody>
      <dsp:txXfrm>
        <a:off x="6198580" y="2856490"/>
        <a:ext cx="1305806" cy="629611"/>
      </dsp:txXfrm>
    </dsp:sp>
    <dsp:sp modelId="{2BF1D30D-A645-461B-8B53-6D37647F8F3F}">
      <dsp:nvSpPr>
        <dsp:cNvPr id="0" name=""/>
        <dsp:cNvSpPr/>
      </dsp:nvSpPr>
      <dsp:spPr>
        <a:xfrm rot="17700000">
          <a:off x="7016093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7666761" y="1979208"/>
          <a:ext cx="630303" cy="630303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6920253" y="2856490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020" bIns="0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kern="1200" dirty="0" smtClean="0">
              <a:latin typeface="Simplon BP Regular" pitchFamily="2" charset="0"/>
            </a:rPr>
            <a:t>...</a:t>
          </a:r>
          <a:endParaRPr lang="pt-BR" sz="1300" kern="1200" dirty="0">
            <a:latin typeface="Simplon BP Regular" pitchFamily="2" charset="0"/>
          </a:endParaRPr>
        </a:p>
      </dsp:txBody>
      <dsp:txXfrm>
        <a:off x="6920253" y="2856490"/>
        <a:ext cx="1305806" cy="629611"/>
      </dsp:txXfrm>
    </dsp:sp>
    <dsp:sp modelId="{0B76364A-724C-4D60-B742-8B2007D3D83F}">
      <dsp:nvSpPr>
        <dsp:cNvPr id="0" name=""/>
        <dsp:cNvSpPr/>
      </dsp:nvSpPr>
      <dsp:spPr>
        <a:xfrm rot="17700000">
          <a:off x="7737765" y="1102617"/>
          <a:ext cx="1305806" cy="62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373" y="0"/>
          <a:ext cx="6130040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7</a:t>
          </a:r>
          <a:endParaRPr lang="pt-BR" sz="2800" kern="1200" dirty="0">
            <a:latin typeface="Simplon BP Regular" pitchFamily="2" charset="0"/>
          </a:endParaRPr>
        </a:p>
      </dsp:txBody>
      <dsp:txXfrm>
        <a:off x="232601" y="0"/>
        <a:ext cx="5665584" cy="464456"/>
      </dsp:txXfrm>
    </dsp:sp>
    <dsp:sp modelId="{0550EBE2-3CC1-4770-9B02-DDFB5E793DEB}">
      <dsp:nvSpPr>
        <dsp:cNvPr id="0" name=""/>
        <dsp:cNvSpPr/>
      </dsp:nvSpPr>
      <dsp:spPr>
        <a:xfrm>
          <a:off x="5868021" y="0"/>
          <a:ext cx="2883719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8</a:t>
          </a:r>
          <a:endParaRPr lang="pt-BR" sz="2800" kern="1200" dirty="0">
            <a:latin typeface="Simplon BP Regular" pitchFamily="2" charset="0"/>
          </a:endParaRPr>
        </a:p>
      </dsp:txBody>
      <dsp:txXfrm>
        <a:off x="6100249" y="0"/>
        <a:ext cx="2419263" cy="4644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AEF2CF-BD74-47E9-9224-4EAC05CF5B8D}">
      <dsp:nvSpPr>
        <dsp:cNvPr id="0" name=""/>
        <dsp:cNvSpPr/>
      </dsp:nvSpPr>
      <dsp:spPr>
        <a:xfrm>
          <a:off x="0" y="1714946"/>
          <a:ext cx="1123867" cy="1123867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73384A-DB24-4E9B-9313-3EFB3DDE8577}">
      <dsp:nvSpPr>
        <dsp:cNvPr id="0" name=""/>
        <dsp:cNvSpPr/>
      </dsp:nvSpPr>
      <dsp:spPr>
        <a:xfrm rot="17700000">
          <a:off x="398687" y="798764"/>
          <a:ext cx="1397092" cy="6732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0" rIns="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Setup inicial do Projeto RAID-FMS</a:t>
          </a:r>
          <a:endParaRPr lang="pt-BR" sz="1200" kern="1200" dirty="0">
            <a:latin typeface="Simplon BP Regular" pitchFamily="2" charset="0"/>
          </a:endParaRPr>
        </a:p>
      </dsp:txBody>
      <dsp:txXfrm>
        <a:off x="398687" y="798764"/>
        <a:ext cx="1397092" cy="673290"/>
      </dsp:txXfrm>
    </dsp:sp>
    <dsp:sp modelId="{988C035B-BE7B-49C8-9002-27080AEB6D54}">
      <dsp:nvSpPr>
        <dsp:cNvPr id="0" name=""/>
        <dsp:cNvSpPr/>
      </dsp:nvSpPr>
      <dsp:spPr>
        <a:xfrm>
          <a:off x="1211208" y="1985200"/>
          <a:ext cx="583358" cy="583358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B767-AFE4-4C94-BFD2-2853D88B54E5}">
      <dsp:nvSpPr>
        <dsp:cNvPr id="0" name=""/>
        <dsp:cNvSpPr/>
      </dsp:nvSpPr>
      <dsp:spPr>
        <a:xfrm rot="17700000">
          <a:off x="52030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Arquitetura física </a:t>
          </a:r>
          <a:endParaRPr lang="pt-BR" sz="1200" kern="1200" dirty="0">
            <a:latin typeface="Simplon BP Regular" pitchFamily="2" charset="0"/>
          </a:endParaRPr>
        </a:p>
      </dsp:txBody>
      <dsp:txXfrm>
        <a:off x="520300" y="2797143"/>
        <a:ext cx="1208550" cy="582717"/>
      </dsp:txXfrm>
    </dsp:sp>
    <dsp:sp modelId="{28CB7A41-49F4-4D56-842A-D68F369A6307}">
      <dsp:nvSpPr>
        <dsp:cNvPr id="0" name=""/>
        <dsp:cNvSpPr/>
      </dsp:nvSpPr>
      <dsp:spPr>
        <a:xfrm rot="17700000">
          <a:off x="1276924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B25F0D-D431-4949-81A0-676174D34183}">
      <dsp:nvSpPr>
        <dsp:cNvPr id="0" name=""/>
        <dsp:cNvSpPr/>
      </dsp:nvSpPr>
      <dsp:spPr>
        <a:xfrm>
          <a:off x="1879130" y="1985200"/>
          <a:ext cx="583358" cy="583358"/>
        </a:xfrm>
        <a:prstGeom prst="ellipse">
          <a:avLst/>
        </a:prstGeom>
        <a:solidFill>
          <a:schemeClr val="accent6">
            <a:shade val="80000"/>
            <a:hueOff val="54449"/>
            <a:satOff val="-3706"/>
            <a:lumOff val="43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3E5578-D846-4CF3-A9D5-73E453066575}">
      <dsp:nvSpPr>
        <dsp:cNvPr id="0" name=""/>
        <dsp:cNvSpPr/>
      </dsp:nvSpPr>
      <dsp:spPr>
        <a:xfrm rot="17700000">
          <a:off x="1188222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NDS e </a:t>
          </a:r>
          <a:r>
            <a:rPr lang="pt-BR" sz="1200" kern="1200" dirty="0" err="1" smtClean="0">
              <a:latin typeface="Simplon BP Regular" pitchFamily="2" charset="0"/>
            </a:rPr>
            <a:t>Compliance</a:t>
          </a:r>
          <a:r>
            <a:rPr lang="pt-BR" sz="1200" kern="1200" dirty="0" smtClean="0">
              <a:latin typeface="Simplon BP Regular" pitchFamily="2" charset="0"/>
            </a:rPr>
            <a:t> SI</a:t>
          </a:r>
          <a:endParaRPr lang="pt-BR" sz="1200" kern="1200" dirty="0">
            <a:latin typeface="Simplon BP Regular" pitchFamily="2" charset="0"/>
          </a:endParaRPr>
        </a:p>
      </dsp:txBody>
      <dsp:txXfrm>
        <a:off x="1188222" y="2797143"/>
        <a:ext cx="1208550" cy="582717"/>
      </dsp:txXfrm>
    </dsp:sp>
    <dsp:sp modelId="{A1AA65C6-9A13-4697-920B-109CDD4DDA94}">
      <dsp:nvSpPr>
        <dsp:cNvPr id="0" name=""/>
        <dsp:cNvSpPr/>
      </dsp:nvSpPr>
      <dsp:spPr>
        <a:xfrm rot="17700000">
          <a:off x="1944847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C968D4-1463-4BB8-8E4F-74B77036556E}">
      <dsp:nvSpPr>
        <dsp:cNvPr id="0" name=""/>
        <dsp:cNvSpPr/>
      </dsp:nvSpPr>
      <dsp:spPr>
        <a:xfrm>
          <a:off x="2547053" y="1985200"/>
          <a:ext cx="583358" cy="583358"/>
        </a:xfrm>
        <a:prstGeom prst="ellipse">
          <a:avLst/>
        </a:prstGeom>
        <a:solidFill>
          <a:schemeClr val="accent6">
            <a:shade val="80000"/>
            <a:hueOff val="108898"/>
            <a:satOff val="-7412"/>
            <a:lumOff val="876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CA001B-E24E-4625-8CFA-1A6C755C930E}">
      <dsp:nvSpPr>
        <dsp:cNvPr id="0" name=""/>
        <dsp:cNvSpPr/>
      </dsp:nvSpPr>
      <dsp:spPr>
        <a:xfrm rot="17700000">
          <a:off x="1856145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Instalação FMS </a:t>
          </a:r>
          <a:r>
            <a:rPr lang="pt-BR" sz="1200" kern="1200" dirty="0" err="1" smtClean="0">
              <a:latin typeface="Simplon BP Regular" pitchFamily="2" charset="0"/>
            </a:rPr>
            <a:t>vanila</a:t>
          </a:r>
          <a:endParaRPr lang="pt-BR" sz="1200" kern="1200" dirty="0">
            <a:latin typeface="Simplon BP Regular" pitchFamily="2" charset="0"/>
          </a:endParaRPr>
        </a:p>
      </dsp:txBody>
      <dsp:txXfrm>
        <a:off x="1856145" y="2797143"/>
        <a:ext cx="1208550" cy="582717"/>
      </dsp:txXfrm>
    </dsp:sp>
    <dsp:sp modelId="{E0FD4796-E7AB-488D-9336-DB3CCBEFE335}">
      <dsp:nvSpPr>
        <dsp:cNvPr id="0" name=""/>
        <dsp:cNvSpPr/>
      </dsp:nvSpPr>
      <dsp:spPr>
        <a:xfrm rot="17700000">
          <a:off x="2612769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C4B2F5-DDA6-41E2-B2AF-97E4F39909E6}">
      <dsp:nvSpPr>
        <dsp:cNvPr id="0" name=""/>
        <dsp:cNvSpPr/>
      </dsp:nvSpPr>
      <dsp:spPr>
        <a:xfrm>
          <a:off x="3214975" y="1985200"/>
          <a:ext cx="583358" cy="583358"/>
        </a:xfrm>
        <a:prstGeom prst="ellipse">
          <a:avLst/>
        </a:prstGeom>
        <a:solidFill>
          <a:schemeClr val="accent6">
            <a:shade val="80000"/>
            <a:hueOff val="163347"/>
            <a:satOff val="-11118"/>
            <a:lumOff val="131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6B5539-3C77-47E1-8754-B43314A96F14}">
      <dsp:nvSpPr>
        <dsp:cNvPr id="0" name=""/>
        <dsp:cNvSpPr/>
      </dsp:nvSpPr>
      <dsp:spPr>
        <a:xfrm rot="17700000">
          <a:off x="2524067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Planejamento, </a:t>
          </a:r>
          <a:r>
            <a:rPr lang="pt-BR" sz="1200" kern="1200" dirty="0" err="1" smtClean="0">
              <a:latin typeface="Simplon BP Regular" pitchFamily="2" charset="0"/>
            </a:rPr>
            <a:t>scoping</a:t>
          </a:r>
          <a:r>
            <a:rPr lang="pt-BR" sz="1200" kern="1200" dirty="0" smtClean="0">
              <a:latin typeface="Simplon BP Regular" pitchFamily="2" charset="0"/>
            </a:rPr>
            <a:t> e </a:t>
          </a:r>
          <a:r>
            <a:rPr lang="pt-BR" sz="1200" kern="1200" dirty="0" err="1" smtClean="0">
              <a:latin typeface="Simplon BP Regular" pitchFamily="2" charset="0"/>
            </a:rPr>
            <a:t>Kick</a:t>
          </a:r>
          <a:r>
            <a:rPr lang="pt-BR" sz="1200" kern="1200" dirty="0" smtClean="0">
              <a:latin typeface="Simplon BP Regular" pitchFamily="2" charset="0"/>
            </a:rPr>
            <a:t>-off Programa 1</a:t>
          </a:r>
          <a:endParaRPr lang="pt-BR" sz="1200" kern="1200" dirty="0">
            <a:latin typeface="Simplon BP Regular" pitchFamily="2" charset="0"/>
          </a:endParaRPr>
        </a:p>
      </dsp:txBody>
      <dsp:txXfrm>
        <a:off x="2524067" y="2797143"/>
        <a:ext cx="1208550" cy="582717"/>
      </dsp:txXfrm>
    </dsp:sp>
    <dsp:sp modelId="{0566B732-D545-48BE-881E-52A791DA4ABA}">
      <dsp:nvSpPr>
        <dsp:cNvPr id="0" name=""/>
        <dsp:cNvSpPr/>
      </dsp:nvSpPr>
      <dsp:spPr>
        <a:xfrm rot="17700000">
          <a:off x="3280691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B6F15-59C6-4659-B141-44CA8308F192}">
      <dsp:nvSpPr>
        <dsp:cNvPr id="0" name=""/>
        <dsp:cNvSpPr/>
      </dsp:nvSpPr>
      <dsp:spPr>
        <a:xfrm>
          <a:off x="3882987" y="1714946"/>
          <a:ext cx="1123867" cy="1123867"/>
        </a:xfrm>
        <a:prstGeom prst="donut">
          <a:avLst>
            <a:gd name="adj" fmla="val 20000"/>
          </a:avLst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DE9DD2-3243-430B-BFDF-DB42C8C39F0F}">
      <dsp:nvSpPr>
        <dsp:cNvPr id="0" name=""/>
        <dsp:cNvSpPr/>
      </dsp:nvSpPr>
      <dsp:spPr>
        <a:xfrm rot="17700000">
          <a:off x="4278988" y="798764"/>
          <a:ext cx="1397092" cy="6732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0" rIns="0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Programa 1 Cadastro/Subscrição e Score externo</a:t>
          </a:r>
          <a:endParaRPr lang="pt-BR" sz="1200" kern="1200" dirty="0">
            <a:latin typeface="Simplon BP Regular" pitchFamily="2" charset="0"/>
          </a:endParaRPr>
        </a:p>
      </dsp:txBody>
      <dsp:txXfrm>
        <a:off x="4278988" y="798764"/>
        <a:ext cx="1397092" cy="673290"/>
      </dsp:txXfrm>
    </dsp:sp>
    <dsp:sp modelId="{8DBDFD54-FA06-4E78-B1F9-B5C24B106AA5}">
      <dsp:nvSpPr>
        <dsp:cNvPr id="0" name=""/>
        <dsp:cNvSpPr/>
      </dsp:nvSpPr>
      <dsp:spPr>
        <a:xfrm>
          <a:off x="5091509" y="1985200"/>
          <a:ext cx="583358" cy="583358"/>
        </a:xfrm>
        <a:prstGeom prst="ellipse">
          <a:avLst/>
        </a:prstGeom>
        <a:solidFill>
          <a:schemeClr val="accent6">
            <a:shade val="80000"/>
            <a:hueOff val="217796"/>
            <a:satOff val="-14825"/>
            <a:lumOff val="1753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6A5027-8CC0-4067-8103-7E8095435049}">
      <dsp:nvSpPr>
        <dsp:cNvPr id="0" name=""/>
        <dsp:cNvSpPr/>
      </dsp:nvSpPr>
      <dsp:spPr>
        <a:xfrm rot="17700000">
          <a:off x="440060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V off-line</a:t>
          </a:r>
          <a:endParaRPr lang="pt-BR" sz="1200" kern="1200" dirty="0">
            <a:latin typeface="Simplon BP Regular" pitchFamily="2" charset="0"/>
          </a:endParaRPr>
        </a:p>
      </dsp:txBody>
      <dsp:txXfrm>
        <a:off x="4400600" y="2797143"/>
        <a:ext cx="1208550" cy="582717"/>
      </dsp:txXfrm>
    </dsp:sp>
    <dsp:sp modelId="{B8523729-5ED9-4781-9993-ED44EE714E76}">
      <dsp:nvSpPr>
        <dsp:cNvPr id="0" name=""/>
        <dsp:cNvSpPr/>
      </dsp:nvSpPr>
      <dsp:spPr>
        <a:xfrm rot="17700000">
          <a:off x="5157225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F6187D-F3FF-4676-8B83-7A42AA5EA52A}">
      <dsp:nvSpPr>
        <dsp:cNvPr id="0" name=""/>
        <dsp:cNvSpPr/>
      </dsp:nvSpPr>
      <dsp:spPr>
        <a:xfrm>
          <a:off x="5759431" y="1985200"/>
          <a:ext cx="583358" cy="583358"/>
        </a:xfrm>
        <a:prstGeom prst="ellipse">
          <a:avLst/>
        </a:prstGeom>
        <a:solidFill>
          <a:schemeClr val="accent6">
            <a:shade val="80000"/>
            <a:hueOff val="272245"/>
            <a:satOff val="-18531"/>
            <a:lumOff val="2192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4020F7-F215-45CC-8770-28C12A152C49}">
      <dsp:nvSpPr>
        <dsp:cNvPr id="0" name=""/>
        <dsp:cNvSpPr/>
      </dsp:nvSpPr>
      <dsp:spPr>
        <a:xfrm rot="17700000">
          <a:off x="5068523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2P Fixo R1/R2 e Velox</a:t>
          </a:r>
          <a:endParaRPr lang="pt-BR" sz="1200" kern="1200" dirty="0">
            <a:latin typeface="Simplon BP Regular" pitchFamily="2" charset="0"/>
          </a:endParaRPr>
        </a:p>
      </dsp:txBody>
      <dsp:txXfrm>
        <a:off x="5068523" y="2797143"/>
        <a:ext cx="1208550" cy="582717"/>
      </dsp:txXfrm>
    </dsp:sp>
    <dsp:sp modelId="{9D3D5B97-3DE5-4600-B2D0-2F52A3508BAB}">
      <dsp:nvSpPr>
        <dsp:cNvPr id="0" name=""/>
        <dsp:cNvSpPr/>
      </dsp:nvSpPr>
      <dsp:spPr>
        <a:xfrm rot="17700000">
          <a:off x="5825147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5EB5AC-902D-472C-844D-916AF60547E4}">
      <dsp:nvSpPr>
        <dsp:cNvPr id="0" name=""/>
        <dsp:cNvSpPr/>
      </dsp:nvSpPr>
      <dsp:spPr>
        <a:xfrm>
          <a:off x="6427353" y="1985200"/>
          <a:ext cx="583358" cy="583358"/>
        </a:xfrm>
        <a:prstGeom prst="ellipse">
          <a:avLst/>
        </a:prstGeom>
        <a:solidFill>
          <a:schemeClr val="accent6">
            <a:shade val="80000"/>
            <a:hueOff val="326694"/>
            <a:satOff val="-22237"/>
            <a:lumOff val="2630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A68C6F-E3B6-46A7-A9B1-B780AB0310AB}">
      <dsp:nvSpPr>
        <dsp:cNvPr id="0" name=""/>
        <dsp:cNvSpPr/>
      </dsp:nvSpPr>
      <dsp:spPr>
        <a:xfrm rot="17700000">
          <a:off x="5736445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3P - TV </a:t>
          </a:r>
          <a:r>
            <a:rPr lang="pt-BR" sz="1200" kern="1200" dirty="0" smtClean="0">
              <a:latin typeface="Simplon BP Regular" pitchFamily="2" charset="0"/>
            </a:rPr>
            <a:t>Online</a:t>
          </a:r>
          <a:endParaRPr lang="pt-BR" sz="1200" kern="1200" dirty="0">
            <a:latin typeface="Simplon BP Regular" pitchFamily="2" charset="0"/>
          </a:endParaRPr>
        </a:p>
      </dsp:txBody>
      <dsp:txXfrm>
        <a:off x="5736445" y="2797143"/>
        <a:ext cx="1208550" cy="582717"/>
      </dsp:txXfrm>
    </dsp:sp>
    <dsp:sp modelId="{2BF1D30D-A645-461B-8B53-6D37647F8F3F}">
      <dsp:nvSpPr>
        <dsp:cNvPr id="0" name=""/>
        <dsp:cNvSpPr/>
      </dsp:nvSpPr>
      <dsp:spPr>
        <a:xfrm rot="17700000">
          <a:off x="6493070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54C5DC-DEEA-4AE2-942F-B531DCD6A4BC}">
      <dsp:nvSpPr>
        <dsp:cNvPr id="0" name=""/>
        <dsp:cNvSpPr/>
      </dsp:nvSpPr>
      <dsp:spPr>
        <a:xfrm>
          <a:off x="7095276" y="1985200"/>
          <a:ext cx="583358" cy="583358"/>
        </a:xfrm>
        <a:prstGeom prst="ellipse">
          <a:avLst/>
        </a:prstGeom>
        <a:solidFill>
          <a:schemeClr val="accent6">
            <a:shade val="80000"/>
            <a:hueOff val="381143"/>
            <a:satOff val="-25943"/>
            <a:lumOff val="3069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E61BE3-08C2-42D5-B308-61E0BFDF64D4}">
      <dsp:nvSpPr>
        <dsp:cNvPr id="0" name=""/>
        <dsp:cNvSpPr/>
      </dsp:nvSpPr>
      <dsp:spPr>
        <a:xfrm rot="17700000">
          <a:off x="6404368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Oi Total + Móvel</a:t>
          </a:r>
          <a:endParaRPr lang="pt-BR" sz="1200" kern="1200" dirty="0">
            <a:latin typeface="Simplon BP Regular" pitchFamily="2" charset="0"/>
          </a:endParaRPr>
        </a:p>
      </dsp:txBody>
      <dsp:txXfrm>
        <a:off x="6404368" y="2797143"/>
        <a:ext cx="1208550" cy="582717"/>
      </dsp:txXfrm>
    </dsp:sp>
    <dsp:sp modelId="{0B76364A-724C-4D60-B742-8B2007D3D83F}">
      <dsp:nvSpPr>
        <dsp:cNvPr id="0" name=""/>
        <dsp:cNvSpPr/>
      </dsp:nvSpPr>
      <dsp:spPr>
        <a:xfrm rot="17700000">
          <a:off x="7160992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6CC0B-51B2-49F4-99D4-5638832F0DB8}">
      <dsp:nvSpPr>
        <dsp:cNvPr id="0" name=""/>
        <dsp:cNvSpPr/>
      </dsp:nvSpPr>
      <dsp:spPr>
        <a:xfrm>
          <a:off x="7763198" y="1985200"/>
          <a:ext cx="583358" cy="583358"/>
        </a:xfrm>
        <a:prstGeom prst="ellipse">
          <a:avLst/>
        </a:prstGeom>
        <a:solidFill>
          <a:schemeClr val="accent6">
            <a:shade val="80000"/>
            <a:hueOff val="435591"/>
            <a:satOff val="-29649"/>
            <a:lumOff val="350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11B9EF-06FF-4EFF-B38F-46F7111F856E}">
      <dsp:nvSpPr>
        <dsp:cNvPr id="0" name=""/>
        <dsp:cNvSpPr/>
      </dsp:nvSpPr>
      <dsp:spPr>
        <a:xfrm rot="17700000">
          <a:off x="7072290" y="2797143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0480" bIns="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>
              <a:latin typeface="Simplon BP Regular" pitchFamily="2" charset="0"/>
            </a:rPr>
            <a:t>Móvel puro (</a:t>
          </a:r>
          <a:r>
            <a:rPr lang="pt-BR" sz="1200" kern="1200" dirty="0" err="1" smtClean="0">
              <a:latin typeface="Simplon BP Regular" pitchFamily="2" charset="0"/>
            </a:rPr>
            <a:t>pré</a:t>
          </a:r>
          <a:r>
            <a:rPr lang="pt-BR" sz="1200" kern="1200" dirty="0" smtClean="0">
              <a:latin typeface="Simplon BP Regular" pitchFamily="2" charset="0"/>
            </a:rPr>
            <a:t>/pós)</a:t>
          </a:r>
          <a:endParaRPr lang="pt-BR" sz="1200" kern="1200" dirty="0">
            <a:latin typeface="Simplon BP Regular" pitchFamily="2" charset="0"/>
          </a:endParaRPr>
        </a:p>
      </dsp:txBody>
      <dsp:txXfrm>
        <a:off x="7072290" y="2797143"/>
        <a:ext cx="1208550" cy="582717"/>
      </dsp:txXfrm>
    </dsp:sp>
    <dsp:sp modelId="{9F22E223-C03C-4A17-985E-B8945A116FFF}">
      <dsp:nvSpPr>
        <dsp:cNvPr id="0" name=""/>
        <dsp:cNvSpPr/>
      </dsp:nvSpPr>
      <dsp:spPr>
        <a:xfrm rot="17700000">
          <a:off x="7828914" y="1173898"/>
          <a:ext cx="1208550" cy="582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2056" y="0"/>
          <a:ext cx="5819288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7</a:t>
          </a:r>
          <a:endParaRPr lang="pt-BR" sz="2800" kern="1200" dirty="0">
            <a:latin typeface="Simplon BP Regular" pitchFamily="2" charset="0"/>
          </a:endParaRPr>
        </a:p>
      </dsp:txBody>
      <dsp:txXfrm>
        <a:off x="234284" y="0"/>
        <a:ext cx="5354832" cy="464456"/>
      </dsp:txXfrm>
    </dsp:sp>
    <dsp:sp modelId="{0550EBE2-3CC1-4770-9B02-DDFB5E793DEB}">
      <dsp:nvSpPr>
        <dsp:cNvPr id="0" name=""/>
        <dsp:cNvSpPr/>
      </dsp:nvSpPr>
      <dsp:spPr>
        <a:xfrm>
          <a:off x="5528182" y="0"/>
          <a:ext cx="3221876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kern="1200" dirty="0" smtClean="0">
              <a:latin typeface="Simplon BP Regular" pitchFamily="2" charset="0"/>
            </a:rPr>
            <a:t>2018</a:t>
          </a:r>
          <a:endParaRPr lang="pt-BR" sz="2800" kern="1200" dirty="0">
            <a:latin typeface="Simplon BP Regular" pitchFamily="2" charset="0"/>
          </a:endParaRPr>
        </a:p>
      </dsp:txBody>
      <dsp:txXfrm>
        <a:off x="5760410" y="0"/>
        <a:ext cx="2757420" cy="4644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6D22AC-C516-4D8C-AE22-0C650918D950}">
      <dsp:nvSpPr>
        <dsp:cNvPr id="0" name=""/>
        <dsp:cNvSpPr/>
      </dsp:nvSpPr>
      <dsp:spPr>
        <a:xfrm>
          <a:off x="1609" y="0"/>
          <a:ext cx="2006914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gund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33837" y="0"/>
        <a:ext cx="1542458" cy="464456"/>
      </dsp:txXfrm>
    </dsp:sp>
    <dsp:sp modelId="{0550EBE2-3CC1-4770-9B02-DDFB5E793DEB}">
      <dsp:nvSpPr>
        <dsp:cNvPr id="0" name=""/>
        <dsp:cNvSpPr/>
      </dsp:nvSpPr>
      <dsp:spPr>
        <a:xfrm>
          <a:off x="1826259" y="0"/>
          <a:ext cx="200310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Terç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2058487" y="0"/>
        <a:ext cx="1538649" cy="464456"/>
      </dsp:txXfrm>
    </dsp:sp>
    <dsp:sp modelId="{4B9CD59A-2F66-4026-8766-3B087A0BF111}">
      <dsp:nvSpPr>
        <dsp:cNvPr id="0" name=""/>
        <dsp:cNvSpPr/>
      </dsp:nvSpPr>
      <dsp:spPr>
        <a:xfrm>
          <a:off x="3647099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ar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3879327" y="0"/>
        <a:ext cx="1358189" cy="464456"/>
      </dsp:txXfrm>
    </dsp:sp>
    <dsp:sp modelId="{6BF36520-8AA0-4A43-B331-55C5B7C98C9D}">
      <dsp:nvSpPr>
        <dsp:cNvPr id="0" name=""/>
        <dsp:cNvSpPr/>
      </dsp:nvSpPr>
      <dsp:spPr>
        <a:xfrm>
          <a:off x="528748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Quin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5519708" y="0"/>
        <a:ext cx="1358189" cy="464456"/>
      </dsp:txXfrm>
    </dsp:sp>
    <dsp:sp modelId="{CFE7FB2D-5E44-4218-85AD-E011C5731AF4}">
      <dsp:nvSpPr>
        <dsp:cNvPr id="0" name=""/>
        <dsp:cNvSpPr/>
      </dsp:nvSpPr>
      <dsp:spPr>
        <a:xfrm>
          <a:off x="6927860" y="0"/>
          <a:ext cx="1822645" cy="464456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>
              <a:latin typeface="Simplon BP Regular" pitchFamily="2" charset="0"/>
            </a:rPr>
            <a:t>Sexta-feira</a:t>
          </a:r>
          <a:endParaRPr lang="pt-BR" sz="1800" kern="1200" dirty="0">
            <a:latin typeface="Simplon BP Regular" pitchFamily="2" charset="0"/>
          </a:endParaRPr>
        </a:p>
      </dsp:txBody>
      <dsp:txXfrm>
        <a:off x="7160088" y="0"/>
        <a:ext cx="1358189" cy="46445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8/2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8/2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60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5410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2490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38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44"/>
          </p:nvPr>
        </p:nvSpPr>
        <p:spPr>
          <a:xfrm>
            <a:off x="3080924" y="1438805"/>
            <a:ext cx="2435237" cy="886272"/>
          </a:xfrm>
          <a:prstGeom prst="rect">
            <a:avLst/>
          </a:prstGeom>
        </p:spPr>
      </p:sp>
      <p:sp>
        <p:nvSpPr>
          <p:cNvPr id="40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46"/>
          </p:nvPr>
        </p:nvSpPr>
        <p:spPr>
          <a:xfrm>
            <a:off x="5830642" y="1438805"/>
            <a:ext cx="2435237" cy="886272"/>
          </a:xfrm>
          <a:prstGeom prst="rect">
            <a:avLst/>
          </a:prstGeom>
        </p:spPr>
      </p:sp>
      <p:sp>
        <p:nvSpPr>
          <p:cNvPr id="42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2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44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3074433"/>
            <a:ext cx="2435237" cy="886272"/>
          </a:xfrm>
          <a:prstGeom prst="rect">
            <a:avLst/>
          </a:prstGeom>
        </p:spPr>
      </p:sp>
      <p:sp>
        <p:nvSpPr>
          <p:cNvPr id="46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577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1/08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863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5812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4876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70157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0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51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5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1/08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248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olhaExpandida2_laranja-16x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6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gradFill flip="none" rotWithShape="1">
          <a:gsLst>
            <a:gs pos="100000">
              <a:srgbClr val="FFFF00"/>
            </a:gs>
            <a:gs pos="0">
              <a:srgbClr val="EA288C"/>
            </a:gs>
            <a:gs pos="50000">
              <a:srgbClr val="FF6D00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529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318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2729159" cy="2348188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438804"/>
            <a:ext cx="4882650" cy="2348188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0" y="480287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4125320"/>
            <a:ext cx="4882650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128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2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2" y="1438804"/>
            <a:ext cx="2435237" cy="2348188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4"/>
            <a:ext cx="2435237" cy="2348188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4" y="1438804"/>
            <a:ext cx="2435237" cy="2348188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9496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6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4127" r:id="rId4"/>
    <p:sldLayoutId id="2147484146" r:id="rId5"/>
    <p:sldLayoutId id="2147484147" r:id="rId6"/>
    <p:sldLayoutId id="2147484149" r:id="rId7"/>
    <p:sldLayoutId id="2147484151" r:id="rId8"/>
    <p:sldLayoutId id="2147484152" r:id="rId9"/>
    <p:sldLayoutId id="214748415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9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71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489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57" r:id="rId5"/>
    <p:sldLayoutId id="2147484160" r:id="rId6"/>
    <p:sldLayoutId id="2147484161" r:id="rId7"/>
    <p:sldLayoutId id="214748416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35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12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Leandro.Frossard@oi.net.br" TargetMode="External"/><Relationship Id="rId1" Type="http://schemas.openxmlformats.org/officeDocument/2006/relationships/slideLayout" Target="../slideLayouts/slideLayout10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0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23037" y="1835464"/>
            <a:ext cx="3803592" cy="933136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smtClean="0"/>
              <a:t>DGS-</a:t>
            </a:r>
            <a:r>
              <a:rPr lang="en-US" dirty="0" err="1" smtClean="0"/>
              <a:t>Gerência</a:t>
            </a:r>
            <a:r>
              <a:rPr lang="en-US" dirty="0" smtClean="0"/>
              <a:t> de </a:t>
            </a:r>
            <a:r>
              <a:rPr lang="en-US" dirty="0" err="1" smtClean="0"/>
              <a:t>faturamento</a:t>
            </a:r>
            <a:r>
              <a:rPr lang="en-US" dirty="0" smtClean="0"/>
              <a:t> </a:t>
            </a:r>
            <a:r>
              <a:rPr lang="en-US" dirty="0" err="1" smtClean="0"/>
              <a:t>convergente</a:t>
            </a:r>
            <a:r>
              <a:rPr lang="en-US" dirty="0" smtClean="0"/>
              <a:t> e</a:t>
            </a:r>
          </a:p>
          <a:p>
            <a:pPr lvl="0">
              <a:lnSpc>
                <a:spcPct val="100000"/>
              </a:lnSpc>
              <a:defRPr/>
            </a:pPr>
            <a:r>
              <a:rPr lang="en-US" dirty="0" smtClean="0"/>
              <a:t>FRAUDE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037" y="267315"/>
            <a:ext cx="5174379" cy="1330363"/>
          </a:xfrm>
          <a:prstGeom prst="rect">
            <a:avLst/>
          </a:prstGeom>
        </p:spPr>
        <p:txBody>
          <a:bodyPr/>
          <a:lstStyle/>
          <a:p>
            <a:r>
              <a:rPr lang="en-US" i="0" dirty="0" err="1" smtClean="0"/>
              <a:t>Projeto</a:t>
            </a:r>
            <a:r>
              <a:rPr lang="en-US" i="0" dirty="0" smtClean="0"/>
              <a:t> novo </a:t>
            </a:r>
            <a:r>
              <a:rPr lang="en-US" i="0" dirty="0" err="1" smtClean="0"/>
              <a:t>Antifraude</a:t>
            </a:r>
            <a:r>
              <a:rPr lang="en-US" i="0" dirty="0" smtClean="0"/>
              <a:t> RAID-FMS</a:t>
            </a:r>
            <a:endParaRPr lang="en-US" i="0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321199" y="3111579"/>
            <a:ext cx="2543187" cy="424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kern="1200" cap="all" baseline="0">
                <a:solidFill>
                  <a:schemeClr val="bg1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dirty="0" smtClean="0"/>
              <a:t>18 de Agosto 2017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06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Agenda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semanal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ojet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71293" y="1761518"/>
            <a:ext cx="1709907" cy="1870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WEDO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>
                <a:latin typeface="Simplon BP Regular" pitchFamily="2" charset="0"/>
              </a:rPr>
              <a:t>Checkpoint evolução de ações em andamento Core Team Oi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xecutivo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1715971575"/>
              </p:ext>
            </p:extLst>
          </p:nvPr>
        </p:nvGraphicFramePr>
        <p:xfrm>
          <a:off x="195942" y="11702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Text Box 83"/>
          <p:cNvSpPr txBox="1">
            <a:spLocks noChangeArrowheads="1"/>
          </p:cNvSpPr>
          <p:nvPr/>
        </p:nvSpPr>
        <p:spPr bwMode="auto">
          <a:xfrm>
            <a:off x="5575748" y="1779961"/>
            <a:ext cx="1587052" cy="18522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Status </a:t>
            </a:r>
            <a:r>
              <a:rPr lang="pt-BR" sz="1200" dirty="0" err="1" smtClean="0">
                <a:latin typeface="Simplon BP Regular" pitchFamily="2" charset="0"/>
              </a:rPr>
              <a:t>report</a:t>
            </a:r>
            <a:r>
              <a:rPr lang="pt-BR" sz="1200" dirty="0" smtClean="0">
                <a:latin typeface="Simplon BP Regular" pitchFamily="2" charset="0"/>
              </a:rPr>
              <a:t> Infra, Operações e Segurança da Informação.</a:t>
            </a: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3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Resumo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financeir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67261"/>
            <a:ext cx="1587052" cy="1864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xecutivo</a:t>
            </a:r>
            <a:endParaRPr lang="pt-BR" sz="1200" dirty="0">
              <a:latin typeface="Simplon BP Regular" pitchFamily="2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313" y="932061"/>
            <a:ext cx="5601981" cy="279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70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óximos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assos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931693" y="1748818"/>
            <a:ext cx="2402057" cy="339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Mobilização Infra e Operaçõe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Elaboração SD e </a:t>
            </a:r>
            <a:r>
              <a:rPr lang="pt-BR" sz="1200" dirty="0" err="1" smtClean="0">
                <a:latin typeface="Simplon BP Regular" pitchFamily="2" charset="0"/>
              </a:rPr>
              <a:t>checklist</a:t>
            </a:r>
            <a:r>
              <a:rPr lang="pt-BR" sz="1200" dirty="0" smtClean="0">
                <a:latin typeface="Simplon BP Regular" pitchFamily="2" charset="0"/>
              </a:rPr>
              <a:t> de infra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Abertura de PRJ24506 no CA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Em andamento: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Revalidação de premissas </a:t>
            </a:r>
            <a:r>
              <a:rPr lang="pt-BR" sz="1200" dirty="0" err="1" smtClean="0">
                <a:latin typeface="Simplon BP Regular" pitchFamily="2" charset="0"/>
              </a:rPr>
              <a:t>sizing</a:t>
            </a:r>
            <a:r>
              <a:rPr lang="pt-BR" sz="1200" dirty="0" smtClean="0">
                <a:latin typeface="Simplon BP Regular" pitchFamily="2" charset="0"/>
              </a:rPr>
              <a:t> HW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requisitos técnicos e definição da arquitetura técnic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Planejamento de entrega e integração da infra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3434825" y="1788902"/>
            <a:ext cx="1708675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>
                <a:latin typeface="Simplon BP Regular" pitchFamily="2" charset="0"/>
              </a:rPr>
              <a:t>Mobilização </a:t>
            </a:r>
            <a:r>
              <a:rPr lang="pt-BR" sz="1200" dirty="0" smtClean="0">
                <a:latin typeface="Simplon BP Regular" pitchFamily="2" charset="0"/>
              </a:rPr>
              <a:t>de Segurança da Informação.</a:t>
            </a:r>
            <a:endParaRPr lang="pt-BR" sz="1200" dirty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A iniciar: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 de acess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s de segurança de aplicação e dad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relatório de vulnerabilidades</a:t>
            </a: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5404298" y="1748818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DSOL, protótipo de telas da solução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 e </a:t>
            </a:r>
            <a:r>
              <a:rPr lang="pt-BR" sz="1200" dirty="0" err="1">
                <a:latin typeface="Simplon BP Regular" pitchFamily="2" charset="0"/>
              </a:rPr>
              <a:t>r</a:t>
            </a:r>
            <a:r>
              <a:rPr lang="pt-BR" sz="1200" dirty="0" err="1" smtClean="0">
                <a:latin typeface="Simplon BP Regular" pitchFamily="2" charset="0"/>
              </a:rPr>
              <a:t>unbook</a:t>
            </a:r>
            <a:r>
              <a:rPr lang="pt-BR" sz="1200" dirty="0" smtClean="0">
                <a:latin typeface="Simplon BP Regular" pitchFamily="2" charset="0"/>
              </a:rPr>
              <a:t> de operaçõ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Disponibilização de manual com modelo de dados e módulo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Treinamento RAID-FM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403965" y="1754561"/>
            <a:ext cx="266328" cy="266328"/>
          </a:xfrm>
          <a:prstGeom prst="star5">
            <a:avLst/>
          </a:prstGeom>
          <a:solidFill>
            <a:srgbClr val="FF6D00"/>
          </a:solidFill>
          <a:ln>
            <a:solidFill>
              <a:srgbClr val="FF6D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4148" y="2082149"/>
            <a:ext cx="79465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200" dirty="0" smtClean="0">
                <a:latin typeface="Simplon BP Regular" pitchFamily="2" charset="0"/>
                <a:ea typeface="Simplon BP" charset="0"/>
                <a:cs typeface="Simplon BP" charset="0"/>
              </a:rPr>
              <a:t>Estamos aqui!</a:t>
            </a: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4072615075"/>
              </p:ext>
            </p:extLst>
          </p:nvPr>
        </p:nvGraphicFramePr>
        <p:xfrm>
          <a:off x="195942" y="11575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54561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plano de atividades de levantamento de processos de negócio, detalhamento de regras, cenários de testes e critérios de aceitação para as ondas prevista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bertura de PRJ no CA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nálise de impactos e elaboração de DAS pelo time de Arquitetur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63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Imagem 7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" t="643" r="-541" b="-2406"/>
          <a:stretch/>
        </p:blipFill>
        <p:spPr>
          <a:xfrm>
            <a:off x="3686623" y="735494"/>
            <a:ext cx="4711547" cy="3755533"/>
          </a:xfrm>
        </p:spPr>
      </p:pic>
      <p:pic>
        <p:nvPicPr>
          <p:cNvPr id="2" name="Espaço Reservado para Imagem 1"/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179" r="-1009" b="-219"/>
          <a:stretch/>
        </p:blipFill>
        <p:spPr>
          <a:xfrm>
            <a:off x="323037" y="3016218"/>
            <a:ext cx="2448000" cy="1440563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323037" y="4522159"/>
            <a:ext cx="2435237" cy="38769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AF TRÁFEG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81590"/>
            <a:ext cx="8297088" cy="837285"/>
          </a:xfrm>
        </p:spPr>
        <p:txBody>
          <a:bodyPr/>
          <a:lstStyle/>
          <a:p>
            <a:r>
              <a:rPr lang="en-US" sz="3200" dirty="0" err="1" smtClean="0"/>
              <a:t>Arquitetura</a:t>
            </a:r>
            <a:r>
              <a:rPr lang="en-US" sz="3200" dirty="0" smtClean="0"/>
              <a:t> AF OI -&gt; EVOLUÇÂO RAID-FMS</a:t>
            </a:r>
            <a:endParaRPr lang="en-US" sz="3200" dirty="0"/>
          </a:p>
        </p:txBody>
      </p:sp>
      <p:pic>
        <p:nvPicPr>
          <p:cNvPr id="7" name="Espaço Reservado para Imagem 6"/>
          <p:cNvPicPr>
            <a:picLocks noGrp="1" noChangeAspect="1"/>
          </p:cNvPicPr>
          <p:nvPr>
            <p:ph type="pic" sz="quarter" idx="37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-166" r="-1008" b="212"/>
          <a:stretch/>
        </p:blipFill>
        <p:spPr>
          <a:xfrm>
            <a:off x="323037" y="825807"/>
            <a:ext cx="2448000" cy="1619251"/>
          </a:xfrm>
        </p:spPr>
      </p:pic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xfrm>
            <a:off x="323037" y="2519078"/>
            <a:ext cx="2435237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UBSCRIÇÂO ON-LIN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xfrm>
            <a:off x="3643081" y="4522159"/>
            <a:ext cx="4711547" cy="38769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RAID-FMS O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9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6"/>
          </p:nvPr>
        </p:nvSpPr>
        <p:spPr>
          <a:xfrm>
            <a:off x="4869454" y="1438804"/>
            <a:ext cx="3396425" cy="2348188"/>
          </a:xfrm>
        </p:spPr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4</a:t>
            </a:fld>
            <a:endParaRPr lang="en-US">
              <a:latin typeface="Simplon BP Bold"/>
              <a:cs typeface="Simplon BP Bold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S DEV/HM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3" cy="837285"/>
          </a:xfrm>
        </p:spPr>
        <p:txBody>
          <a:bodyPr/>
          <a:lstStyle/>
          <a:p>
            <a:r>
              <a:rPr lang="en-US" dirty="0" err="1" smtClean="0"/>
              <a:t>Arquitetura</a:t>
            </a:r>
            <a:r>
              <a:rPr lang="en-US" dirty="0" smtClean="0"/>
              <a:t> FISICA RAID-FMS (draft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4869454" y="4125320"/>
            <a:ext cx="3396425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 PRODUTIVO</a:t>
            </a:r>
            <a:endParaRPr lang="en-US" dirty="0"/>
          </a:p>
        </p:txBody>
      </p:sp>
      <p:sp>
        <p:nvSpPr>
          <p:cNvPr id="4" name="Espaço Reservado para Imagem 3"/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30663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15096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Migração</a:t>
            </a:r>
            <a:r>
              <a:rPr lang="en-US" dirty="0" smtClean="0">
                <a:latin typeface="Simplon BP Regular"/>
                <a:cs typeface="Simplon BP Regular"/>
              </a:rPr>
              <a:t> de dados e </a:t>
            </a:r>
            <a:r>
              <a:rPr lang="en-US" dirty="0" err="1" smtClean="0">
                <a:latin typeface="Simplon BP Regular"/>
                <a:cs typeface="Simplon BP Regular"/>
              </a:rPr>
              <a:t>integração</a:t>
            </a:r>
            <a:r>
              <a:rPr lang="en-US" dirty="0" smtClean="0">
                <a:latin typeface="Simplon BP Regular"/>
                <a:cs typeface="Simplon BP Regular"/>
              </a:rPr>
              <a:t> Hadoo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incipais</a:t>
            </a:r>
            <a:r>
              <a:rPr lang="en-US" dirty="0" smtClean="0"/>
              <a:t> </a:t>
            </a:r>
            <a:r>
              <a:rPr lang="en-US" dirty="0" err="1" smtClean="0"/>
              <a:t>premissas</a:t>
            </a:r>
            <a:r>
              <a:rPr lang="en-US" dirty="0" smtClean="0"/>
              <a:t> e </a:t>
            </a:r>
            <a:r>
              <a:rPr lang="en-US" dirty="0" err="1" smtClean="0"/>
              <a:t>restrições</a:t>
            </a:r>
            <a:r>
              <a:rPr lang="en-US" dirty="0" smtClean="0"/>
              <a:t> (PT WEDO)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221436" y="1772473"/>
            <a:ext cx="63698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Simplon BP Regular" pitchFamily="2" charset="0"/>
              </a:rPr>
              <a:t>A Oi deverá fornecer a documentação dos sistemas a serem migrados. </a:t>
            </a:r>
            <a:endParaRPr lang="pt-BR" sz="1200" dirty="0" smtClean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fornecer o dicionário de dados das tabelas envolvidas na migraçã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suportar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na migração dos dados do sistema atual de gestão de fraudes para a nova </a:t>
            </a:r>
            <a:r>
              <a:rPr lang="pt-BR" sz="1200" dirty="0" smtClean="0">
                <a:latin typeface="Simplon BP Regular" pitchFamily="2" charset="0"/>
              </a:rPr>
              <a:t>solução, onde serão considerados no processo de migração:</a:t>
            </a:r>
          </a:p>
          <a:p>
            <a:pPr lvl="1"/>
            <a:r>
              <a:rPr lang="pt-BR" sz="1200" dirty="0" smtClean="0">
                <a:latin typeface="Simplon BP Regular" pitchFamily="2" charset="0"/>
              </a:rPr>
              <a:t>-   </a:t>
            </a:r>
            <a:r>
              <a:rPr lang="pt-BR" sz="1200" dirty="0" err="1" smtClean="0">
                <a:latin typeface="Simplon BP Regular" pitchFamily="2" charset="0"/>
              </a:rPr>
              <a:t>Hotlists</a:t>
            </a:r>
            <a:r>
              <a:rPr lang="pt-BR" sz="1200" dirty="0" smtClean="0">
                <a:latin typeface="Simplon BP Regular" pitchFamily="2" charset="0"/>
              </a:rPr>
              <a:t> </a:t>
            </a:r>
            <a:r>
              <a:rPr lang="pt-BR" sz="1200" dirty="0">
                <a:latin typeface="Simplon BP Regular" pitchFamily="2" charset="0"/>
              </a:rPr>
              <a:t>e </a:t>
            </a:r>
            <a:r>
              <a:rPr lang="pt-BR" sz="1200" dirty="0" err="1">
                <a:latin typeface="Simplon BP Regular" pitchFamily="2" charset="0"/>
              </a:rPr>
              <a:t>whitelists</a:t>
            </a:r>
            <a:r>
              <a:rPr lang="pt-BR" sz="1200" dirty="0">
                <a:latin typeface="Simplon BP Regular" pitchFamily="2" charset="0"/>
              </a:rPr>
              <a:t> existentes.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Casos </a:t>
            </a:r>
            <a:r>
              <a:rPr lang="pt-BR" sz="1200" dirty="0">
                <a:latin typeface="Simplon BP Regular" pitchFamily="2" charset="0"/>
              </a:rPr>
              <a:t>de fraude por entidade (MSISDN, IMEI, </a:t>
            </a:r>
            <a:r>
              <a:rPr lang="pt-BR" sz="1200" dirty="0" err="1">
                <a:latin typeface="Simplon BP Regular" pitchFamily="2" charset="0"/>
              </a:rPr>
              <a:t>Dealer</a:t>
            </a:r>
            <a:r>
              <a:rPr lang="pt-BR" sz="1200" dirty="0">
                <a:latin typeface="Simplon BP Regular" pitchFamily="2" charset="0"/>
              </a:rPr>
              <a:t>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 smtClean="0">
                <a:latin typeface="Simplon BP Regular" pitchFamily="2" charset="0"/>
              </a:rPr>
              <a:t>)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Informação </a:t>
            </a:r>
            <a:r>
              <a:rPr lang="pt-BR" sz="1200" dirty="0">
                <a:latin typeface="Simplon BP Regular" pitchFamily="2" charset="0"/>
              </a:rPr>
              <a:t>completa de subscrição (nome, endereço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>
                <a:latin typeface="Simplon BP Regular" pitchFamily="2" charset="0"/>
              </a:rPr>
              <a:t>) dos </a:t>
            </a:r>
            <a:r>
              <a:rPr lang="pt-BR" sz="1200" dirty="0" smtClean="0">
                <a:latin typeface="Simplon BP Regular" pitchFamily="2" charset="0"/>
              </a:rPr>
              <a:t>fraudadores.</a:t>
            </a:r>
            <a:endParaRPr lang="pt-BR" sz="1200" dirty="0">
              <a:latin typeface="Simplon BP Regular" pitchFamily="2" charset="0"/>
            </a:endParaRP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Histórico </a:t>
            </a:r>
            <a:r>
              <a:rPr lang="pt-BR" sz="1200" dirty="0">
                <a:latin typeface="Simplon BP Regular" pitchFamily="2" charset="0"/>
              </a:rPr>
              <a:t>de ações realizadas por </a:t>
            </a:r>
            <a:r>
              <a:rPr lang="pt-BR" sz="1200" dirty="0" smtClean="0">
                <a:latin typeface="Simplon BP Regular" pitchFamily="2" charset="0"/>
              </a:rPr>
              <a:t>entidade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Os </a:t>
            </a:r>
            <a:r>
              <a:rPr lang="pt-BR" sz="1200" dirty="0">
                <a:latin typeface="Simplon BP Regular" pitchFamily="2" charset="0"/>
              </a:rPr>
              <a:t>dados de tráfego (arquivos de </a:t>
            </a:r>
            <a:r>
              <a:rPr lang="pt-BR" sz="1200" dirty="0" err="1">
                <a:latin typeface="Simplon BP Regular" pitchFamily="2" charset="0"/>
              </a:rPr>
              <a:t>xDRs</a:t>
            </a:r>
            <a:r>
              <a:rPr lang="pt-BR" sz="1200" dirty="0">
                <a:latin typeface="Simplon BP Regular" pitchFamily="2" charset="0"/>
              </a:rPr>
              <a:t> provenientes da mediação) que não fazem parte do escopo de prevenção à fraude (</a:t>
            </a:r>
            <a:r>
              <a:rPr lang="pt-BR" sz="1200" dirty="0" err="1">
                <a:latin typeface="Simplon BP Regular" pitchFamily="2" charset="0"/>
              </a:rPr>
              <a:t>near</a:t>
            </a:r>
            <a:r>
              <a:rPr lang="pt-BR" sz="1200" dirty="0">
                <a:latin typeface="Simplon BP Regular" pitchFamily="2" charset="0"/>
              </a:rPr>
              <a:t> real time) deverão ser entregues no servidor Edge Node do cluster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(ou em outro servidor que tenha a função de data </a:t>
            </a:r>
            <a:r>
              <a:rPr lang="pt-BR" sz="1200" dirty="0" err="1">
                <a:latin typeface="Simplon BP Regular" pitchFamily="2" charset="0"/>
              </a:rPr>
              <a:t>staging</a:t>
            </a:r>
            <a:r>
              <a:rPr lang="pt-BR" sz="1200" dirty="0">
                <a:latin typeface="Simplon BP Regular" pitchFamily="2" charset="0"/>
              </a:rPr>
              <a:t>), de onde serão imputados no cluster.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Para este projeto,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o conceito de base fria no escopo da solução, onde uma base quente </a:t>
            </a:r>
            <a:r>
              <a:rPr lang="pt-BR" sz="1200" dirty="0" smtClean="0">
                <a:latin typeface="Simplon BP Regular" pitchFamily="2" charset="0"/>
              </a:rPr>
              <a:t>terá </a:t>
            </a:r>
            <a:r>
              <a:rPr lang="pt-BR" sz="1200" dirty="0">
                <a:latin typeface="Simplon BP Regular" pitchFamily="2" charset="0"/>
              </a:rPr>
              <a:t>os registros do dia para atender a necessidade de respostas em tempo próximo ao real e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todos os registros até o limite do tempo de guarda (aproximadamente 5 anos), para o uso de pesquisas mais complexas e tempo de resposta adequado.  </a:t>
            </a:r>
          </a:p>
          <a:p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83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323038" y="3616254"/>
            <a:ext cx="6085552" cy="152051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Simplon BP Regular"/>
                <a:cs typeface="Simplon BP Regular"/>
              </a:rPr>
              <a:t>Dir. </a:t>
            </a:r>
            <a:r>
              <a:rPr lang="en-US" dirty="0" err="1" smtClean="0">
                <a:latin typeface="Simplon BP Regular"/>
                <a:cs typeface="Simplon BP Regular"/>
              </a:rPr>
              <a:t>Governança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Tecnológica</a:t>
            </a:r>
            <a:r>
              <a:rPr lang="en-US" dirty="0" smtClean="0">
                <a:latin typeface="Simplon BP Regular"/>
                <a:cs typeface="Simplon BP Regular"/>
              </a:rPr>
              <a:t> e </a:t>
            </a:r>
            <a:r>
              <a:rPr lang="en-US" dirty="0" err="1" smtClean="0">
                <a:latin typeface="Simplon BP Regular"/>
                <a:cs typeface="Simplon BP Regular"/>
              </a:rPr>
              <a:t>Desenvolvimento</a:t>
            </a:r>
            <a:r>
              <a:rPr lang="en-US" dirty="0" smtClean="0">
                <a:latin typeface="Simplon BP Regular"/>
                <a:cs typeface="Simplon BP Regular"/>
              </a:rPr>
              <a:t> de </a:t>
            </a:r>
            <a:r>
              <a:rPr lang="en-US" dirty="0" err="1" smtClean="0">
                <a:latin typeface="Simplon BP Regular"/>
                <a:cs typeface="Simplon BP Regular"/>
              </a:rPr>
              <a:t>Serviços</a:t>
            </a:r>
            <a:endParaRPr lang="en-US" dirty="0" smtClean="0">
              <a:latin typeface="Simplon BP Regular"/>
              <a:cs typeface="Simplon BP Regular"/>
            </a:endParaRPr>
          </a:p>
          <a:p>
            <a:r>
              <a:rPr lang="en-US" dirty="0" err="1" smtClean="0">
                <a:latin typeface="Simplon BP Regular"/>
              </a:rPr>
              <a:t>Gerência</a:t>
            </a:r>
            <a:r>
              <a:rPr lang="en-US" dirty="0" smtClean="0">
                <a:latin typeface="Simplon BP Regular"/>
              </a:rPr>
              <a:t> de </a:t>
            </a:r>
            <a:r>
              <a:rPr lang="en-US" dirty="0" err="1" smtClean="0">
                <a:latin typeface="Simplon BP Regular"/>
              </a:rPr>
              <a:t>Faturamento</a:t>
            </a:r>
            <a:r>
              <a:rPr lang="en-US" dirty="0" smtClean="0">
                <a:latin typeface="Simplon BP Regular"/>
              </a:rPr>
              <a:t> </a:t>
            </a:r>
            <a:r>
              <a:rPr lang="en-US" dirty="0" err="1" smtClean="0">
                <a:latin typeface="Simplon BP Regular"/>
              </a:rPr>
              <a:t>Convergente</a:t>
            </a:r>
            <a:r>
              <a:rPr lang="en-US" dirty="0" smtClean="0">
                <a:latin typeface="Simplon BP Regular"/>
              </a:rPr>
              <a:t> e </a:t>
            </a:r>
            <a:r>
              <a:rPr lang="en-US" dirty="0" err="1" smtClean="0">
                <a:latin typeface="Simplon BP Regular"/>
              </a:rPr>
              <a:t>Fraude</a:t>
            </a:r>
            <a:endParaRPr lang="en-US" dirty="0" smtClean="0">
              <a:latin typeface="Simplon BP Regular"/>
            </a:endParaRPr>
          </a:p>
          <a:p>
            <a:r>
              <a:rPr lang="en-US" dirty="0" smtClean="0">
                <a:latin typeface="Simplon BP Regular"/>
                <a:hlinkClick r:id="rId2"/>
              </a:rPr>
              <a:t>Leandro.Frossard@oi.net.br</a:t>
            </a:r>
            <a:r>
              <a:rPr lang="en-US" dirty="0" smtClean="0">
                <a:latin typeface="Simplon BP Regular"/>
              </a:rPr>
              <a:t> - 21988411005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30463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Elaborador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por</a:t>
            </a:r>
            <a:r>
              <a:rPr lang="en-US" dirty="0" smtClean="0">
                <a:latin typeface="Simplon BP Regular"/>
                <a:cs typeface="Simplon BP Regular"/>
              </a:rPr>
              <a:t> Leandro Frossar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16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31" y="190500"/>
            <a:ext cx="76485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9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12" y="190500"/>
            <a:ext cx="8562975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8315"/>
            <a:ext cx="9144000" cy="176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9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ntifraude</a:t>
            </a:r>
            <a:r>
              <a:rPr lang="en-US" dirty="0" smtClean="0"/>
              <a:t> RAID-FMS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57758" y="965607"/>
            <a:ext cx="3543871" cy="3708834"/>
          </a:xfrm>
        </p:spPr>
        <p:txBody>
          <a:bodyPr>
            <a:normAutofit fontScale="32500" lnSpcReduction="20000"/>
          </a:bodyPr>
          <a:lstStyle/>
          <a:p>
            <a:pPr lvl="0">
              <a:lnSpc>
                <a:spcPct val="170000"/>
              </a:lnSpc>
            </a:pPr>
            <a:r>
              <a:rPr lang="en-US" sz="3700" dirty="0" err="1" smtClean="0"/>
              <a:t>Objetivo</a:t>
            </a:r>
            <a:r>
              <a:rPr lang="en-US" sz="3700" dirty="0" smtClean="0"/>
              <a:t> e </a:t>
            </a:r>
            <a:r>
              <a:rPr lang="en-US" sz="3700" dirty="0" err="1" smtClean="0"/>
              <a:t>motivadores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Escopo</a:t>
            </a:r>
            <a:r>
              <a:rPr lang="en-US" sz="3700" dirty="0" smtClean="0"/>
              <a:t> e </a:t>
            </a:r>
            <a:r>
              <a:rPr lang="en-US" sz="3700" dirty="0" err="1" smtClean="0"/>
              <a:t>pacote</a:t>
            </a:r>
            <a:r>
              <a:rPr lang="en-US" sz="3700" dirty="0" smtClean="0"/>
              <a:t>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Beneficios</a:t>
            </a:r>
            <a:r>
              <a:rPr lang="en-US" sz="3700" dirty="0"/>
              <a:t> </a:t>
            </a:r>
            <a:r>
              <a:rPr lang="en-US" sz="3700" dirty="0" err="1"/>
              <a:t>esperado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smtClean="0"/>
              <a:t>Roadmap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 err="1" smtClean="0"/>
              <a:t>Cronograma</a:t>
            </a:r>
            <a:r>
              <a:rPr lang="en-US" sz="3700" dirty="0" smtClean="0"/>
              <a:t> macr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Organização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/>
              <a:t>Agenda </a:t>
            </a:r>
            <a:r>
              <a:rPr lang="en-US" sz="3700" dirty="0" err="1"/>
              <a:t>semAnal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Proximos</a:t>
            </a:r>
            <a:r>
              <a:rPr lang="en-US" sz="3700" dirty="0"/>
              <a:t> </a:t>
            </a:r>
            <a:r>
              <a:rPr lang="en-US" sz="3700" dirty="0" err="1"/>
              <a:t>passos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Arquitetura</a:t>
            </a:r>
            <a:r>
              <a:rPr lang="en-US" sz="3700" dirty="0" smtClean="0"/>
              <a:t> </a:t>
            </a:r>
            <a:r>
              <a:rPr lang="en-US" sz="3700" dirty="0" err="1" smtClean="0"/>
              <a:t>fisica</a:t>
            </a:r>
            <a:r>
              <a:rPr lang="en-US" sz="3700" dirty="0" smtClean="0"/>
              <a:t> vanilla</a:t>
            </a:r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Principais</a:t>
            </a:r>
            <a:r>
              <a:rPr lang="en-US" sz="3700" dirty="0" smtClean="0"/>
              <a:t> </a:t>
            </a:r>
            <a:r>
              <a:rPr lang="en-US" sz="3700" dirty="0" err="1" smtClean="0"/>
              <a:t>premissas</a:t>
            </a:r>
            <a:r>
              <a:rPr lang="en-US" sz="3700" dirty="0" smtClean="0"/>
              <a:t> e </a:t>
            </a:r>
            <a:r>
              <a:rPr lang="en-US" sz="3700" dirty="0" err="1" smtClean="0"/>
              <a:t>restriçõe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umá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68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92379841"/>
              </p:ext>
            </p:extLst>
          </p:nvPr>
        </p:nvGraphicFramePr>
        <p:xfrm>
          <a:off x="970126" y="848388"/>
          <a:ext cx="7239000" cy="2989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3124200"/>
              </a:tblGrid>
              <a:tr h="68295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Atuação e Números Antifraude</a:t>
                      </a:r>
                      <a:r>
                        <a:rPr lang="pt-BR" sz="20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Oi</a:t>
                      </a:r>
                      <a:endParaRPr lang="pt-BR" sz="200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incipais áreas envolvida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endas, Crédito, Atendimento, Faturamento, Cobrança, UTC, Engenharia.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Clientes ativos na base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70Milhõe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Trafégo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monitorado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200Milhões eventos/dia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lume de Propostas Onlin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80k Propostas/dia /~100k/pic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Backoffice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de prevenção/detecçã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~200pa´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73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5772963" cy="1945109"/>
          </a:xfrm>
        </p:spPr>
        <p:txBody>
          <a:bodyPr/>
          <a:lstStyle/>
          <a:p>
            <a:r>
              <a:rPr lang="en-US" dirty="0" err="1" smtClean="0"/>
              <a:t>Objetiv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3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3037" y="902976"/>
            <a:ext cx="4756964" cy="609362"/>
          </a:xfrm>
          <a:prstGeom prst="rect">
            <a:avLst/>
          </a:prstGeom>
        </p:spPr>
        <p:txBody>
          <a:bodyPr>
            <a:normAutofit fontScale="85000" lnSpcReduction="10000"/>
          </a:bodyPr>
          <a:lstStyle/>
          <a:p>
            <a:pPr marL="0" lvl="1" indent="0">
              <a:lnSpc>
                <a:spcPct val="100000"/>
              </a:lnSpc>
              <a:spcBef>
                <a:spcPts val="0"/>
              </a:spcBef>
              <a:buSzTx/>
              <a:buNone/>
              <a:defRPr/>
            </a:pPr>
            <a:r>
              <a:rPr lang="en-US" dirty="0" err="1" smtClean="0"/>
              <a:t>Unificar</a:t>
            </a:r>
            <a:r>
              <a:rPr lang="en-US" dirty="0" smtClean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processos</a:t>
            </a:r>
            <a:r>
              <a:rPr lang="en-US" dirty="0"/>
              <a:t> de </a:t>
            </a:r>
            <a:r>
              <a:rPr lang="en-US" dirty="0" err="1"/>
              <a:t>Gestão</a:t>
            </a:r>
            <a:r>
              <a:rPr lang="en-US" dirty="0"/>
              <a:t> de </a:t>
            </a:r>
            <a:r>
              <a:rPr lang="en-US" dirty="0" err="1"/>
              <a:t>Fraudes</a:t>
            </a:r>
            <a:r>
              <a:rPr lang="en-US" dirty="0"/>
              <a:t> e </a:t>
            </a:r>
            <a:r>
              <a:rPr lang="en-US" dirty="0" err="1"/>
              <a:t>habilitar</a:t>
            </a:r>
            <a:r>
              <a:rPr lang="en-US" dirty="0"/>
              <a:t> as </a:t>
            </a:r>
            <a:r>
              <a:rPr lang="en-US" dirty="0" err="1"/>
              <a:t>capacidades</a:t>
            </a:r>
            <a:r>
              <a:rPr lang="en-US" dirty="0"/>
              <a:t> para a </a:t>
            </a:r>
            <a:r>
              <a:rPr lang="en-US" dirty="0" err="1"/>
              <a:t>transformação</a:t>
            </a:r>
            <a:r>
              <a:rPr lang="en-US" dirty="0"/>
              <a:t> digital </a:t>
            </a:r>
            <a:r>
              <a:rPr lang="en-US" dirty="0" err="1"/>
              <a:t>na</a:t>
            </a:r>
            <a:r>
              <a:rPr lang="en-US" dirty="0"/>
              <a:t> Oi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323037" y="2134215"/>
            <a:ext cx="5772963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ts val="1100"/>
              </a:spcBef>
              <a:buNone/>
              <a:defRPr sz="3600" i="1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i="0" dirty="0" err="1" smtClean="0"/>
              <a:t>motivadores</a:t>
            </a:r>
            <a:endParaRPr lang="en-US" i="0" dirty="0"/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782576"/>
            <a:ext cx="6141264" cy="1979924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segregada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regiões</a:t>
            </a:r>
            <a:r>
              <a:rPr lang="en-US" dirty="0" smtClean="0"/>
              <a:t>, </a:t>
            </a:r>
            <a:r>
              <a:rPr lang="en-US" dirty="0" err="1" smtClean="0"/>
              <a:t>produtos</a:t>
            </a:r>
            <a:r>
              <a:rPr lang="en-US" dirty="0" smtClean="0"/>
              <a:t> e </a:t>
            </a:r>
            <a:r>
              <a:rPr lang="en-US" dirty="0" err="1" smtClean="0"/>
              <a:t>serviços</a:t>
            </a:r>
            <a:r>
              <a:rPr lang="en-US" dirty="0" smtClean="0"/>
              <a:t>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Ausência</a:t>
            </a:r>
            <a:r>
              <a:rPr lang="en-US" dirty="0" smtClean="0"/>
              <a:t> de </a:t>
            </a:r>
            <a:r>
              <a:rPr lang="en-US" dirty="0" err="1" smtClean="0"/>
              <a:t>visão</a:t>
            </a:r>
            <a:r>
              <a:rPr lang="en-US" dirty="0" smtClean="0"/>
              <a:t> </a:t>
            </a:r>
            <a:r>
              <a:rPr lang="en-US" dirty="0" err="1" smtClean="0"/>
              <a:t>unificada</a:t>
            </a:r>
            <a:r>
              <a:rPr lang="en-US" dirty="0" smtClean="0"/>
              <a:t> dos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em</a:t>
            </a:r>
            <a:r>
              <a:rPr lang="en-US" dirty="0" smtClean="0"/>
              <a:t> multi </a:t>
            </a:r>
            <a:r>
              <a:rPr lang="en-US" dirty="0" err="1" smtClean="0"/>
              <a:t>produtos</a:t>
            </a:r>
            <a:r>
              <a:rPr lang="en-US" dirty="0" smtClean="0"/>
              <a:t> </a:t>
            </a:r>
            <a:r>
              <a:rPr lang="en-US" dirty="0" err="1" smtClean="0"/>
              <a:t>impedindo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associações</a:t>
            </a:r>
            <a:r>
              <a:rPr lang="en-US" dirty="0" smtClean="0"/>
              <a:t> </a:t>
            </a:r>
            <a:r>
              <a:rPr lang="en-US" dirty="0" err="1" smtClean="0"/>
              <a:t>suspeitas</a:t>
            </a:r>
            <a:r>
              <a:rPr lang="en-US" dirty="0" smtClean="0"/>
              <a:t> entre </a:t>
            </a:r>
            <a:r>
              <a:rPr lang="en-US" dirty="0" err="1" smtClean="0"/>
              <a:t>clientes</a:t>
            </a:r>
            <a:r>
              <a:rPr lang="en-US" dirty="0" smtClean="0"/>
              <a:t> e </a:t>
            </a:r>
            <a:r>
              <a:rPr lang="en-US" dirty="0" err="1" smtClean="0"/>
              <a:t>contas</a:t>
            </a:r>
            <a:r>
              <a:rPr lang="en-US" dirty="0" smtClean="0"/>
              <a:t> para </a:t>
            </a:r>
            <a:r>
              <a:rPr lang="en-US" dirty="0" err="1" smtClean="0"/>
              <a:t>todas</a:t>
            </a:r>
            <a:r>
              <a:rPr lang="en-US" dirty="0" smtClean="0"/>
              <a:t> as </a:t>
            </a:r>
            <a:r>
              <a:rPr lang="en-US" dirty="0" err="1" smtClean="0"/>
              <a:t>linhas</a:t>
            </a:r>
            <a:r>
              <a:rPr lang="en-US" dirty="0" smtClean="0"/>
              <a:t> de </a:t>
            </a:r>
            <a:r>
              <a:rPr lang="en-US" dirty="0" err="1" smtClean="0"/>
              <a:t>negócio</a:t>
            </a:r>
            <a:r>
              <a:rPr lang="en-US" dirty="0" smtClean="0"/>
              <a:t> da Oi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preparada</a:t>
            </a:r>
            <a:r>
              <a:rPr lang="en-US" dirty="0" smtClean="0"/>
              <a:t> para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tip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a </a:t>
            </a:r>
            <a:r>
              <a:rPr lang="en-US" dirty="0" err="1" smtClean="0"/>
              <a:t>serem</a:t>
            </a:r>
            <a:r>
              <a:rPr lang="en-US" dirty="0" smtClean="0"/>
              <a:t> </a:t>
            </a:r>
            <a:r>
              <a:rPr lang="en-US" dirty="0" err="1" smtClean="0"/>
              <a:t>detectados</a:t>
            </a:r>
            <a:r>
              <a:rPr lang="en-US" dirty="0" smtClean="0"/>
              <a:t> com a </a:t>
            </a:r>
            <a:r>
              <a:rPr lang="en-US" dirty="0" err="1" smtClean="0"/>
              <a:t>Transformação</a:t>
            </a:r>
            <a:r>
              <a:rPr lang="en-US" dirty="0" smtClean="0"/>
              <a:t> Digital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permite</a:t>
            </a:r>
            <a:r>
              <a:rPr lang="en-US" dirty="0" smtClean="0"/>
              <a:t> </a:t>
            </a:r>
            <a:r>
              <a:rPr lang="en-US" dirty="0" err="1" smtClean="0"/>
              <a:t>realizar</a:t>
            </a:r>
            <a:r>
              <a:rPr lang="en-US" dirty="0" smtClean="0"/>
              <a:t> </a:t>
            </a:r>
            <a:r>
              <a:rPr lang="en-US" dirty="0" err="1" smtClean="0"/>
              <a:t>análise</a:t>
            </a:r>
            <a:r>
              <a:rPr lang="en-US" dirty="0" smtClean="0"/>
              <a:t> </a:t>
            </a:r>
            <a:r>
              <a:rPr lang="en-US" dirty="0" err="1" smtClean="0"/>
              <a:t>preditiva</a:t>
            </a:r>
            <a:r>
              <a:rPr lang="en-US" dirty="0" smtClean="0"/>
              <a:t> para </a:t>
            </a:r>
            <a:r>
              <a:rPr lang="en-US" dirty="0" err="1" smtClean="0"/>
              <a:t>antecipar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Processos</a:t>
            </a:r>
            <a:r>
              <a:rPr lang="en-US" dirty="0" smtClean="0"/>
              <a:t> </a:t>
            </a:r>
            <a:r>
              <a:rPr lang="en-US" dirty="0" err="1" smtClean="0"/>
              <a:t>manuais</a:t>
            </a:r>
            <a:r>
              <a:rPr lang="en-US" dirty="0" smtClean="0"/>
              <a:t> de </a:t>
            </a:r>
            <a:r>
              <a:rPr lang="en-US" dirty="0" err="1" smtClean="0"/>
              <a:t>prevenção</a:t>
            </a:r>
            <a:r>
              <a:rPr lang="en-US" dirty="0" smtClean="0"/>
              <a:t> a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OI TV e </a:t>
            </a:r>
            <a:r>
              <a:rPr lang="en-US" dirty="0" err="1" smtClean="0"/>
              <a:t>Fixo</a:t>
            </a:r>
            <a:r>
              <a:rPr lang="en-US" dirty="0" smtClean="0"/>
              <a:t> R2 </a:t>
            </a:r>
            <a:r>
              <a:rPr lang="en-US" dirty="0" err="1" smtClean="0"/>
              <a:t>geram</a:t>
            </a:r>
            <a:r>
              <a:rPr lang="en-US" dirty="0" smtClean="0"/>
              <a:t> </a:t>
            </a:r>
            <a:r>
              <a:rPr lang="en-US" dirty="0" err="1" smtClean="0"/>
              <a:t>custos</a:t>
            </a:r>
            <a:r>
              <a:rPr lang="en-US" dirty="0" smtClean="0"/>
              <a:t> com BO e </a:t>
            </a:r>
            <a:r>
              <a:rPr lang="en-US" dirty="0" err="1" smtClean="0"/>
              <a:t>perda</a:t>
            </a:r>
            <a:r>
              <a:rPr lang="en-US" dirty="0" smtClean="0"/>
              <a:t> de </a:t>
            </a:r>
            <a:r>
              <a:rPr lang="en-US" dirty="0" err="1" smtClean="0"/>
              <a:t>receita</a:t>
            </a:r>
            <a:r>
              <a:rPr lang="en-US" dirty="0" smtClean="0"/>
              <a:t>.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8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2" cy="837285"/>
          </a:xfrm>
        </p:spPr>
        <p:txBody>
          <a:bodyPr/>
          <a:lstStyle/>
          <a:p>
            <a:r>
              <a:rPr lang="en-US" dirty="0" err="1" smtClean="0"/>
              <a:t>Escopo</a:t>
            </a:r>
            <a:r>
              <a:rPr lang="en-US" dirty="0" smtClean="0"/>
              <a:t> (RESUMO PT WEDO)</a:t>
            </a:r>
            <a:endParaRPr lang="en-US" dirty="0"/>
          </a:p>
        </p:txBody>
      </p:sp>
      <p:sp>
        <p:nvSpPr>
          <p:cNvPr id="19" name="Retângulo 18"/>
          <p:cNvSpPr/>
          <p:nvPr/>
        </p:nvSpPr>
        <p:spPr>
          <a:xfrm>
            <a:off x="259537" y="758525"/>
            <a:ext cx="377417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1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Prevenção </a:t>
            </a:r>
            <a:r>
              <a:rPr lang="pt-BR" sz="1100" dirty="0">
                <a:latin typeface="Simplon BP Regular" pitchFamily="2" charset="0"/>
              </a:rPr>
              <a:t>de vendas fraudulentas: detecção de ativações com o uso de identidades falsas baseada em </a:t>
            </a:r>
            <a:r>
              <a:rPr lang="pt-BR" sz="1100" dirty="0" err="1">
                <a:latin typeface="Simplon BP Regular" pitchFamily="2" charset="0"/>
              </a:rPr>
              <a:t>blacklists</a:t>
            </a:r>
            <a:r>
              <a:rPr lang="pt-BR" sz="1100" dirty="0">
                <a:latin typeface="Simplon BP Regular" pitchFamily="2" charset="0"/>
              </a:rPr>
              <a:t> e análise de dados cadastrais (fraude por subscrição), análise de dados do vendedor, entre outros, para todas as linhas de negócio da Oi (móvel, fixo, dados, TV, Oi Total).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álculo </a:t>
            </a:r>
            <a:r>
              <a:rPr lang="pt-BR" sz="1100" dirty="0">
                <a:latin typeface="Simplon BP Regular" pitchFamily="2" charset="0"/>
              </a:rPr>
              <a:t>de score de fraude e recomendação para </a:t>
            </a:r>
            <a:r>
              <a:rPr lang="pt-BR" sz="1100" dirty="0" smtClean="0">
                <a:latin typeface="Simplon BP Regular" pitchFamily="2" charset="0"/>
              </a:rPr>
              <a:t>	derivação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etecção/prevenção </a:t>
            </a:r>
            <a:r>
              <a:rPr lang="pt-BR" sz="1100" dirty="0">
                <a:latin typeface="Simplon BP Regular" pitchFamily="2" charset="0"/>
              </a:rPr>
              <a:t>Online e </a:t>
            </a:r>
            <a:r>
              <a:rPr lang="pt-BR" sz="1100" dirty="0" err="1">
                <a:latin typeface="Simplon BP Regular" pitchFamily="2" charset="0"/>
              </a:rPr>
              <a:t>Offline</a:t>
            </a:r>
            <a:r>
              <a:rPr lang="pt-BR" sz="1100" dirty="0">
                <a:latin typeface="Simplon BP Regular" pitchFamily="2" charset="0"/>
              </a:rPr>
              <a:t>  </a:t>
            </a:r>
          </a:p>
          <a:p>
            <a:pPr algn="just"/>
            <a:endParaRPr lang="pt-BR" sz="1100" dirty="0" smtClean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grações</a:t>
            </a:r>
            <a:r>
              <a:rPr lang="pt-BR" sz="1100" dirty="0">
                <a:latin typeface="Simplon BP Regular" pitchFamily="2" charset="0"/>
              </a:rPr>
              <a:t>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RM </a:t>
            </a:r>
            <a:r>
              <a:rPr lang="pt-BR" sz="1100" dirty="0">
                <a:latin typeface="Simplon BP Regular" pitchFamily="2" charset="0"/>
              </a:rPr>
              <a:t>– todos os sistemas de Oi para cada linha de </a:t>
            </a:r>
            <a:r>
              <a:rPr lang="pt-BR" sz="1100" dirty="0" smtClean="0">
                <a:latin typeface="Simplon BP Regular" pitchFamily="2" charset="0"/>
              </a:rPr>
              <a:t>	negócio/produto </a:t>
            </a:r>
            <a:r>
              <a:rPr lang="pt-BR" sz="1100" dirty="0">
                <a:latin typeface="Simplon BP Regular" pitchFamily="2" charset="0"/>
              </a:rPr>
              <a:t>(</a:t>
            </a:r>
            <a:r>
              <a:rPr lang="pt-BR" sz="1100" dirty="0" smtClean="0">
                <a:latin typeface="Simplon BP Regular" pitchFamily="2" charset="0"/>
              </a:rPr>
              <a:t>Siebe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6.3/8, </a:t>
            </a:r>
            <a:r>
              <a:rPr lang="pt-BR" sz="1100" dirty="0">
                <a:latin typeface="Simplon BP Regular" pitchFamily="2" charset="0"/>
              </a:rPr>
              <a:t>STC, SAC, Oi </a:t>
            </a:r>
            <a:r>
              <a:rPr lang="pt-BR" sz="1100" dirty="0" smtClean="0">
                <a:latin typeface="Simplon BP Regular" pitchFamily="2" charset="0"/>
              </a:rPr>
              <a:t>	Vende, SINN);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Bases </a:t>
            </a:r>
            <a:r>
              <a:rPr lang="pt-BR" sz="1100" dirty="0">
                <a:latin typeface="Simplon BP Regular" pitchFamily="2" charset="0"/>
              </a:rPr>
              <a:t>de controle de vendas da </a:t>
            </a:r>
            <a:r>
              <a:rPr lang="pt-BR" sz="1100" dirty="0" smtClean="0">
                <a:latin typeface="Simplon BP Regular" pitchFamily="2" charset="0"/>
              </a:rPr>
              <a:t>Oi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uários </a:t>
            </a:r>
            <a:r>
              <a:rPr lang="pt-BR" sz="1100" dirty="0">
                <a:latin typeface="Simplon BP Regular" pitchFamily="2" charset="0"/>
              </a:rPr>
              <a:t>NDS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rfaces </a:t>
            </a:r>
            <a:r>
              <a:rPr lang="pt-BR" sz="1100" dirty="0">
                <a:latin typeface="Simplon BP Regular" pitchFamily="2" charset="0"/>
              </a:rPr>
              <a:t>externas (webservices)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</a:t>
            </a:r>
            <a:r>
              <a:rPr lang="pt-BR" sz="1100" dirty="0" err="1" smtClean="0">
                <a:latin typeface="Simplon BP Regular" pitchFamily="2" charset="0"/>
              </a:rPr>
              <a:t>ClearSale</a:t>
            </a:r>
            <a:endParaRPr lang="pt-BR" sz="1100" dirty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M4U </a:t>
            </a:r>
            <a:r>
              <a:rPr lang="pt-BR" sz="1100" dirty="0">
                <a:latin typeface="Simplon BP Regular" pitchFamily="2" charset="0"/>
              </a:rPr>
              <a:t>Serasa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ABR/SIAF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Receita </a:t>
            </a:r>
            <a:r>
              <a:rPr lang="pt-BR" sz="1100" dirty="0">
                <a:latin typeface="Simplon BP Regular" pitchFamily="2" charset="0"/>
              </a:rPr>
              <a:t>Federal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Sistema </a:t>
            </a:r>
            <a:r>
              <a:rPr lang="pt-BR" sz="1100" dirty="0">
                <a:latin typeface="Simplon BP Regular" pitchFamily="2" charset="0"/>
              </a:rPr>
              <a:t>de análise de crédito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368800" y="760399"/>
            <a:ext cx="4654550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2 </a:t>
            </a:r>
            <a:endParaRPr lang="pt-BR" sz="1100" dirty="0" smtClean="0">
              <a:latin typeface="Simplon Oi Headline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M</a:t>
            </a:r>
            <a:r>
              <a:rPr lang="pt-BR" sz="1100" dirty="0" smtClean="0">
                <a:latin typeface="Simplon BP Regular" pitchFamily="2" charset="0"/>
              </a:rPr>
              <a:t>onitoramento </a:t>
            </a:r>
            <a:r>
              <a:rPr lang="pt-BR" sz="1100" dirty="0">
                <a:latin typeface="Simplon BP Regular" pitchFamily="2" charset="0"/>
              </a:rPr>
              <a:t>de uso (voz, SMS e dados) de qualquer terminal que faça uso da rede Oi e que pode estar fora do padrão habitual e que tenha intenção </a:t>
            </a:r>
            <a:r>
              <a:rPr lang="pt-BR" sz="1100" dirty="0" smtClean="0">
                <a:latin typeface="Simplon BP Regular" pitchFamily="2" charset="0"/>
              </a:rPr>
              <a:t>fraudulenta: 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em chamadas LDI </a:t>
            </a:r>
            <a:r>
              <a:rPr lang="pt-BR" sz="1100" dirty="0" smtClean="0">
                <a:latin typeface="Simplon BP Regular" pitchFamily="2" charset="0"/>
              </a:rPr>
              <a:t>e </a:t>
            </a:r>
            <a:r>
              <a:rPr lang="pt-BR" sz="1100" dirty="0" err="1" smtClean="0">
                <a:latin typeface="Simplon BP Regular" pitchFamily="2" charset="0"/>
              </a:rPr>
              <a:t>co-billing</a:t>
            </a:r>
            <a:r>
              <a:rPr lang="pt-BR" sz="1100" dirty="0" smtClean="0">
                <a:latin typeface="Simplon BP Regular" pitchFamily="2" charset="0"/>
              </a:rPr>
              <a:t> 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SPAM </a:t>
            </a:r>
            <a:r>
              <a:rPr lang="pt-BR" sz="1100" dirty="0">
                <a:latin typeface="Simplon BP Regular" pitchFamily="2" charset="0"/>
              </a:rPr>
              <a:t>de SMS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o </a:t>
            </a:r>
            <a:r>
              <a:rPr lang="pt-BR" sz="1100" dirty="0">
                <a:latin typeface="Simplon BP Regular" pitchFamily="2" charset="0"/>
              </a:rPr>
              <a:t>abusivo de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forward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onference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group</a:t>
            </a:r>
            <a:r>
              <a:rPr lang="pt-BR" sz="1100" dirty="0">
                <a:latin typeface="Simplon BP Regular" pitchFamily="2" charset="0"/>
              </a:rPr>
              <a:t>, etc. 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de </a:t>
            </a:r>
            <a:r>
              <a:rPr lang="pt-BR" sz="1100" dirty="0">
                <a:latin typeface="Simplon BP Regular" pitchFamily="2" charset="0"/>
              </a:rPr>
              <a:t>Roaming In e Out: </a:t>
            </a:r>
            <a:r>
              <a:rPr lang="pt-BR" sz="1100" dirty="0" smtClean="0">
                <a:latin typeface="Simplon BP Regular" pitchFamily="2" charset="0"/>
              </a:rPr>
              <a:t>NRTRDE </a:t>
            </a:r>
            <a:r>
              <a:rPr lang="pt-BR" sz="1100" dirty="0">
                <a:latin typeface="Simplon BP Regular" pitchFamily="2" charset="0"/>
              </a:rPr>
              <a:t>e </a:t>
            </a:r>
            <a:r>
              <a:rPr lang="pt-BR" sz="1100" dirty="0" smtClean="0">
                <a:latin typeface="Simplon BP Regular" pitchFamily="2" charset="0"/>
              </a:rPr>
              <a:t>TAP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RSF / PRS: </a:t>
            </a:r>
            <a:r>
              <a:rPr lang="pt-BR" sz="1100" dirty="0" smtClean="0">
                <a:latin typeface="Simplon BP Regular" pitchFamily="2" charset="0"/>
              </a:rPr>
              <a:t>(</a:t>
            </a:r>
            <a:r>
              <a:rPr lang="pt-BR" sz="1100" dirty="0">
                <a:latin typeface="Simplon BP Regular" pitchFamily="2" charset="0"/>
              </a:rPr>
              <a:t>números </a:t>
            </a:r>
            <a:r>
              <a:rPr lang="pt-BR" sz="1100" dirty="0" err="1">
                <a:latin typeface="Simplon BP Regular" pitchFamily="2" charset="0"/>
              </a:rPr>
              <a:t>premium</a:t>
            </a:r>
            <a:r>
              <a:rPr lang="pt-BR" sz="1100" dirty="0" smtClean="0">
                <a:latin typeface="Simplon BP Regular" pitchFamily="2" charset="0"/>
              </a:rPr>
              <a:t>)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 smtClean="0">
                <a:latin typeface="Simplon BP Regular" pitchFamily="2" charset="0"/>
              </a:rPr>
              <a:t>Bypass</a:t>
            </a:r>
            <a:r>
              <a:rPr lang="pt-BR" sz="1100" dirty="0" smtClean="0">
                <a:latin typeface="Simplon BP Regular" pitchFamily="2" charset="0"/>
              </a:rPr>
              <a:t> e Tráfego zero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Pré-pago: </a:t>
            </a:r>
            <a:r>
              <a:rPr lang="pt-BR" sz="1100" dirty="0" smtClean="0">
                <a:latin typeface="Simplon BP Regular" pitchFamily="2" charset="0"/>
              </a:rPr>
              <a:t>Recargas </a:t>
            </a:r>
            <a:r>
              <a:rPr lang="pt-BR" sz="1100" dirty="0">
                <a:latin typeface="Simplon BP Regular" pitchFamily="2" charset="0"/>
              </a:rPr>
              <a:t>fraudulentas e análise </a:t>
            </a:r>
            <a:r>
              <a:rPr lang="pt-BR" sz="1100" dirty="0" smtClean="0">
                <a:latin typeface="Simplon BP Regular" pitchFamily="2" charset="0"/>
              </a:rPr>
              <a:t>de bônus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>
                <a:latin typeface="Simplon BP Regular" pitchFamily="2" charset="0"/>
              </a:rPr>
              <a:t>Hacking</a:t>
            </a:r>
            <a:r>
              <a:rPr lang="pt-BR" sz="1100" dirty="0">
                <a:latin typeface="Simplon BP Regular" pitchFamily="2" charset="0"/>
              </a:rPr>
              <a:t> de </a:t>
            </a:r>
            <a:r>
              <a:rPr lang="pt-BR" sz="1100" dirty="0" smtClean="0">
                <a:latin typeface="Simplon BP Regular" pitchFamily="2" charset="0"/>
              </a:rPr>
              <a:t>PBX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MEI/IMSI </a:t>
            </a:r>
            <a:r>
              <a:rPr lang="pt-BR" sz="1100" dirty="0" err="1" smtClean="0">
                <a:latin typeface="Simplon BP Regular" pitchFamily="2" charset="0"/>
              </a:rPr>
              <a:t>Stuffing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de Clonagem</a:t>
            </a:r>
            <a:r>
              <a:rPr lang="pt-BR" sz="1100" dirty="0" smtClean="0">
                <a:latin typeface="Simplon BP Regular" pitchFamily="2" charset="0"/>
              </a:rPr>
              <a:t>: Colisão e Velocidade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</a:t>
            </a:r>
            <a:r>
              <a:rPr lang="pt-BR" sz="1100" dirty="0" err="1" smtClean="0">
                <a:latin typeface="Simplon BP Regular" pitchFamily="2" charset="0"/>
              </a:rPr>
              <a:t>Hotlists</a:t>
            </a:r>
            <a:r>
              <a:rPr lang="pt-BR" sz="1100" dirty="0">
                <a:latin typeface="Simplon BP Regular" pitchFamily="2" charset="0"/>
              </a:rPr>
              <a:t>: </a:t>
            </a:r>
            <a:r>
              <a:rPr lang="pt-BR" sz="1100" dirty="0" smtClean="0">
                <a:latin typeface="Simplon BP Regular" pitchFamily="2" charset="0"/>
              </a:rPr>
              <a:t>Detecção </a:t>
            </a:r>
            <a:r>
              <a:rPr lang="pt-BR" sz="1100" dirty="0">
                <a:latin typeface="Simplon BP Regular" pitchFamily="2" charset="0"/>
              </a:rPr>
              <a:t>de situações anormais ou </a:t>
            </a:r>
            <a:r>
              <a:rPr lang="pt-BR" sz="1100" dirty="0" smtClean="0">
                <a:latin typeface="Simplon BP Regular" pitchFamily="2" charset="0"/>
              </a:rPr>
              <a:t>fraudulentas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Paíse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isco</a:t>
            </a:r>
          </a:p>
          <a:p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Integrações internas e interfaces externas: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ata Lake </a:t>
            </a:r>
            <a:r>
              <a:rPr lang="pt-BR" sz="1100" dirty="0" err="1" smtClean="0">
                <a:latin typeface="Simplon BP Regular" pitchFamily="2" charset="0"/>
              </a:rPr>
              <a:t>Hadoop</a:t>
            </a:r>
            <a:r>
              <a:rPr lang="pt-BR" sz="1100" dirty="0" smtClean="0">
                <a:latin typeface="Simplon BP Regular" pitchFamily="2" charset="0"/>
              </a:rPr>
              <a:t>, Mediação, SIGA, ASGA, Plataforma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ede, 	CRM, Base </a:t>
            </a:r>
            <a:r>
              <a:rPr lang="pt-BR" sz="1100" dirty="0">
                <a:latin typeface="Simplon BP Regular" pitchFamily="2" charset="0"/>
              </a:rPr>
              <a:t>de Dados de JEC (</a:t>
            </a:r>
            <a:r>
              <a:rPr lang="pt-BR" sz="1100" dirty="0" err="1" smtClean="0">
                <a:latin typeface="Simplon BP Regular" pitchFamily="2" charset="0"/>
              </a:rPr>
              <a:t>Sisjur</a:t>
            </a:r>
            <a:r>
              <a:rPr lang="pt-BR" sz="1100" dirty="0" smtClean="0">
                <a:latin typeface="Simplon BP Regular" pitchFamily="2" charset="0"/>
              </a:rPr>
              <a:t>), Base </a:t>
            </a:r>
            <a:r>
              <a:rPr lang="pt-BR" sz="1100" dirty="0">
                <a:latin typeface="Simplon BP Regular" pitchFamily="2" charset="0"/>
              </a:rPr>
              <a:t>de atendimento </a:t>
            </a:r>
            <a:r>
              <a:rPr lang="pt-BR" sz="1100" dirty="0" smtClean="0">
                <a:latin typeface="Simplon BP Regular" pitchFamily="2" charset="0"/>
              </a:rPr>
              <a:t>DRC, 	Anatel, Arbor, SFA, </a:t>
            </a:r>
            <a:r>
              <a:rPr lang="pt-BR" sz="1100" dirty="0" err="1" smtClean="0">
                <a:latin typeface="Simplon BP Regular" pitchFamily="2" charset="0"/>
              </a:rPr>
              <a:t>Sisraf</a:t>
            </a:r>
            <a:r>
              <a:rPr lang="pt-BR" sz="1100" dirty="0" smtClean="0">
                <a:latin typeface="Simplon BP Regular" pitchFamily="2" charset="0"/>
              </a:rPr>
              <a:t>, SINN</a:t>
            </a:r>
            <a:endParaRPr lang="pt-BR" sz="11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8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473815"/>
            <a:ext cx="8224063" cy="1945109"/>
          </a:xfrm>
        </p:spPr>
        <p:txBody>
          <a:bodyPr/>
          <a:lstStyle/>
          <a:p>
            <a:r>
              <a:rPr lang="en-US" i="0" dirty="0" err="1" smtClean="0"/>
              <a:t>Beneficios</a:t>
            </a:r>
            <a:r>
              <a:rPr lang="en-US" i="0" dirty="0" smtClean="0"/>
              <a:t> </a:t>
            </a:r>
            <a:r>
              <a:rPr lang="en-US" i="0" dirty="0" err="1" smtClean="0"/>
              <a:t>diretos</a:t>
            </a:r>
            <a:r>
              <a:rPr lang="en-US" i="0" dirty="0" smtClean="0"/>
              <a:t> e </a:t>
            </a:r>
            <a:r>
              <a:rPr lang="en-US" i="0" dirty="0" err="1" smtClean="0"/>
              <a:t>indiretos</a:t>
            </a:r>
            <a:endParaRPr lang="en-US" i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5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172976"/>
            <a:ext cx="6141264" cy="19799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smtClean="0"/>
              <a:t>JEC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perda</a:t>
            </a:r>
            <a:r>
              <a:rPr lang="en-US" dirty="0"/>
              <a:t> de </a:t>
            </a:r>
            <a:r>
              <a:rPr lang="en-US" dirty="0" err="1"/>
              <a:t>receita</a:t>
            </a:r>
            <a:r>
              <a:rPr lang="en-US" dirty="0"/>
              <a:t> de </a:t>
            </a:r>
            <a:r>
              <a:rPr lang="en-US" dirty="0" err="1" smtClean="0"/>
              <a:t>interconexão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ativação</a:t>
            </a:r>
            <a:r>
              <a:rPr lang="en-US" dirty="0"/>
              <a:t> e </a:t>
            </a:r>
            <a:r>
              <a:rPr lang="en-US" dirty="0" err="1"/>
              <a:t>instalação</a:t>
            </a:r>
            <a:r>
              <a:rPr lang="en-US" dirty="0"/>
              <a:t> de </a:t>
            </a:r>
            <a:r>
              <a:rPr lang="en-US" dirty="0" err="1"/>
              <a:t>produtos</a:t>
            </a:r>
            <a:r>
              <a:rPr lang="en-US" dirty="0"/>
              <a:t> </a:t>
            </a:r>
            <a:r>
              <a:rPr lang="en-US" dirty="0" err="1" smtClean="0"/>
              <a:t>indevido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Aprimoramento</a:t>
            </a:r>
            <a:r>
              <a:rPr lang="en-US" dirty="0" smtClean="0"/>
              <a:t> </a:t>
            </a:r>
            <a:r>
              <a:rPr lang="en-US" dirty="0"/>
              <a:t>da </a:t>
            </a:r>
            <a:r>
              <a:rPr lang="en-US" dirty="0" err="1"/>
              <a:t>experiência</a:t>
            </a:r>
            <a:r>
              <a:rPr lang="en-US" dirty="0"/>
              <a:t> do </a:t>
            </a:r>
            <a:r>
              <a:rPr lang="en-US" dirty="0" err="1" smtClean="0"/>
              <a:t>client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err="1"/>
              <a:t>reclam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redes</a:t>
            </a:r>
            <a:r>
              <a:rPr lang="en-US" dirty="0"/>
              <a:t> </a:t>
            </a:r>
            <a:r>
              <a:rPr lang="en-US" dirty="0" err="1" smtClean="0"/>
              <a:t>sociai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o </a:t>
            </a:r>
            <a:r>
              <a:rPr lang="en-US" dirty="0" smtClean="0"/>
              <a:t>churn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Aument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vendas</a:t>
            </a:r>
            <a:r>
              <a:rPr lang="en-US" dirty="0"/>
              <a:t> com a </a:t>
            </a:r>
            <a:r>
              <a:rPr lang="en-US" dirty="0" err="1"/>
              <a:t>redução</a:t>
            </a:r>
            <a:r>
              <a:rPr lang="en-US" dirty="0"/>
              <a:t> de </a:t>
            </a:r>
            <a:r>
              <a:rPr lang="en-US" dirty="0" err="1"/>
              <a:t>derivação</a:t>
            </a:r>
            <a:r>
              <a:rPr lang="en-US" dirty="0"/>
              <a:t> e </a:t>
            </a:r>
            <a:r>
              <a:rPr lang="en-US" dirty="0" err="1"/>
              <a:t>negação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risco</a:t>
            </a:r>
            <a:r>
              <a:rPr lang="en-US" dirty="0"/>
              <a:t> de </a:t>
            </a:r>
            <a:r>
              <a:rPr lang="en-US" dirty="0" err="1" smtClean="0"/>
              <a:t>fraude</a:t>
            </a:r>
            <a:endParaRPr lang="en-US" dirty="0" smtClean="0"/>
          </a:p>
          <a:p>
            <a:endParaRPr lang="en-US" dirty="0"/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642581145"/>
              </p:ext>
            </p:extLst>
          </p:nvPr>
        </p:nvGraphicFramePr>
        <p:xfrm>
          <a:off x="6134100" y="1703076"/>
          <a:ext cx="3355725" cy="2411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49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790445748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93966133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draft 1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6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950414893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998620601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draft 2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34209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78955"/>
            <a:ext cx="8207375" cy="687808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CRONOGRAMA MACR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onda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1 (PT WEDO)</a:t>
            </a:r>
            <a:endParaRPr lang="en-US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pic>
        <p:nvPicPr>
          <p:cNvPr id="469" name="Imagem 4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" y="900113"/>
            <a:ext cx="8920579" cy="2681288"/>
          </a:xfrm>
          <a:prstGeom prst="rect">
            <a:avLst/>
          </a:prstGeom>
        </p:spPr>
      </p:pic>
      <p:sp>
        <p:nvSpPr>
          <p:cNvPr id="470" name="Retângulo 469"/>
          <p:cNvSpPr/>
          <p:nvPr/>
        </p:nvSpPr>
        <p:spPr>
          <a:xfrm>
            <a:off x="146050" y="3670301"/>
            <a:ext cx="8509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latin typeface="Simplon BP Regular" pitchFamily="2" charset="0"/>
              </a:rPr>
              <a:t>Para o cumprimento dos prazos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assumiu as seguintes premissas com relação aos servidores: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Desenvolvimento: disponível ao término da etapa de “Plano de Gerenciamento do Projeto” (indicado com a letra “D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Homologação: disponível em até 3 semanas após a entrega do servidor de desenvolvimento (indicado com a letra “H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Produção: disponível em até 3 semanas após a entrega do servidor de homologação (indicado com a letra “P” no cronograma)</a:t>
            </a:r>
          </a:p>
        </p:txBody>
      </p:sp>
    </p:spTree>
    <p:extLst>
      <p:ext uri="{BB962C8B-B14F-4D97-AF65-F5344CB8AC3E}">
        <p14:creationId xmlns:p14="http://schemas.microsoft.com/office/powerpoint/2010/main" val="41619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5" name="Rectangle 36"/>
          <p:cNvSpPr/>
          <p:nvPr/>
        </p:nvSpPr>
        <p:spPr>
          <a:xfrm>
            <a:off x="4610507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TEGRAÇÔES TI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Eduard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61574" y="891169"/>
            <a:ext cx="6691573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</a:t>
            </a:r>
            <a:r>
              <a:rPr lang="pt-BR" sz="12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Carreira / André </a:t>
            </a:r>
            <a:r>
              <a:rPr lang="pt-BR" sz="1200" kern="0" dirty="0" err="1" smtClean="0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2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256467" y="262214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ARQUITETURA </a:t>
            </a: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OLUÇ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Felipe Brit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10507" y="1777314"/>
            <a:ext cx="264264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ÉCNIC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256467" y="177731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PM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atiana Lera -&gt; Set/17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Rectangle 30"/>
          <p:cNvSpPr/>
          <p:nvPr/>
        </p:nvSpPr>
        <p:spPr>
          <a:xfrm>
            <a:off x="5972623" y="2221429"/>
            <a:ext cx="1280524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lanej.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aulo Lyr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Rectangle 36"/>
          <p:cNvSpPr/>
          <p:nvPr/>
        </p:nvSpPr>
        <p:spPr>
          <a:xfrm>
            <a:off x="4610507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lução AF/Dad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ntonio Carlos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561130" y="1329411"/>
            <a:ext cx="32728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Funcional / Negóci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Hugo Martins / Cezar Fernandes</a:t>
            </a: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256467" y="219285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RQUITETURA CORP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Vinicius M.</a:t>
            </a:r>
          </a:p>
        </p:txBody>
      </p:sp>
      <p:sp>
        <p:nvSpPr>
          <p:cNvPr id="22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23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61574" y="1777314"/>
            <a:ext cx="26424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UNCIONAL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</a:p>
        </p:txBody>
      </p:sp>
      <p:sp>
        <p:nvSpPr>
          <p:cNvPr id="26" name="Rectangle 30"/>
          <p:cNvSpPr/>
          <p:nvPr/>
        </p:nvSpPr>
        <p:spPr>
          <a:xfrm>
            <a:off x="1927266" y="2221429"/>
            <a:ext cx="1263085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MO DE NEGÓCI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7" name="Rectangle 36"/>
          <p:cNvSpPr/>
          <p:nvPr/>
        </p:nvSpPr>
        <p:spPr>
          <a:xfrm>
            <a:off x="561575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Kleyton 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7566915" y="1312693"/>
            <a:ext cx="1197673" cy="376718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RAID-FMS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566915" y="891169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Diretoria Técnic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566915" y="1777314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Funcional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 flipH="1">
            <a:off x="7566914" y="59540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solidFill>
                  <a:srgbClr val="BB0F9A"/>
                </a:solidFill>
                <a:latin typeface="Simplon BP Regular"/>
                <a:cs typeface="Simplon BP Regular"/>
              </a:rPr>
              <a:t>WEDO</a:t>
            </a: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561574" y="59540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solidFill>
                <a:srgbClr val="FF6D00"/>
              </a:solidFill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3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0"/>
          <p:cNvSpPr/>
          <p:nvPr/>
        </p:nvSpPr>
        <p:spPr>
          <a:xfrm>
            <a:off x="5976198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lexandre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N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ctangle 36"/>
          <p:cNvSpPr/>
          <p:nvPr/>
        </p:nvSpPr>
        <p:spPr>
          <a:xfrm>
            <a:off x="4610507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CORE EXT. e 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0"/>
          <p:cNvSpPr/>
          <p:nvPr/>
        </p:nvSpPr>
        <p:spPr>
          <a:xfrm>
            <a:off x="1927266" y="2684593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ebora Fari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6"/>
          <p:cNvSpPr/>
          <p:nvPr/>
        </p:nvSpPr>
        <p:spPr>
          <a:xfrm>
            <a:off x="561575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Kleyton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0"/>
          <p:cNvSpPr/>
          <p:nvPr/>
        </p:nvSpPr>
        <p:spPr>
          <a:xfrm>
            <a:off x="5985723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Sistem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Rectangle 30"/>
          <p:cNvSpPr/>
          <p:nvPr/>
        </p:nvSpPr>
        <p:spPr>
          <a:xfrm>
            <a:off x="5985723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urança ND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</a:p>
        </p:txBody>
      </p:sp>
      <p:sp>
        <p:nvSpPr>
          <p:cNvPr id="43" name="Rectangle 36"/>
          <p:cNvSpPr/>
          <p:nvPr/>
        </p:nvSpPr>
        <p:spPr>
          <a:xfrm>
            <a:off x="4610507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GESTÃO DE TEST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uciana Link</a:t>
            </a:r>
          </a:p>
        </p:txBody>
      </p:sp>
      <p:sp>
        <p:nvSpPr>
          <p:cNvPr id="46" name="Rectangle 30"/>
          <p:cNvSpPr/>
          <p:nvPr/>
        </p:nvSpPr>
        <p:spPr>
          <a:xfrm>
            <a:off x="5985723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ormaçã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hristian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36"/>
          <p:cNvSpPr/>
          <p:nvPr/>
        </p:nvSpPr>
        <p:spPr>
          <a:xfrm>
            <a:off x="4610507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fra e Operaçõ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Judney-&gt; Set/17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Rectangle 8"/>
          <p:cNvSpPr>
            <a:spLocks noChangeArrowheads="1"/>
          </p:cNvSpPr>
          <p:nvPr/>
        </p:nvSpPr>
        <p:spPr bwMode="auto">
          <a:xfrm>
            <a:off x="3906019" y="1318977"/>
            <a:ext cx="3344889" cy="367306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Técnic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abio Glaser / Marcio Caroso</a:t>
            </a: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3257947" y="305673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RELACIONAMENT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BD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62" name="Rectangle 30"/>
          <p:cNvSpPr/>
          <p:nvPr/>
        </p:nvSpPr>
        <p:spPr>
          <a:xfrm>
            <a:off x="7566915" y="2608394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3" name="Rectangle 30"/>
          <p:cNvSpPr/>
          <p:nvPr/>
        </p:nvSpPr>
        <p:spPr>
          <a:xfrm>
            <a:off x="7566914" y="2186870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Gustavo Mou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ctangle 36"/>
          <p:cNvSpPr/>
          <p:nvPr/>
        </p:nvSpPr>
        <p:spPr>
          <a:xfrm>
            <a:off x="571100" y="31417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err="1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571100" y="35989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RÉDITO/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Rodrigo Freit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Rectangle 36"/>
          <p:cNvSpPr/>
          <p:nvPr/>
        </p:nvSpPr>
        <p:spPr>
          <a:xfrm>
            <a:off x="571100" y="40561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riane Carl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Rectangle 30"/>
          <p:cNvSpPr/>
          <p:nvPr/>
        </p:nvSpPr>
        <p:spPr>
          <a:xfrm>
            <a:off x="1936791" y="3141793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Title 5"/>
          <p:cNvSpPr txBox="1">
            <a:spLocks/>
          </p:cNvSpPr>
          <p:nvPr/>
        </p:nvSpPr>
        <p:spPr>
          <a:xfrm>
            <a:off x="370662" y="229215"/>
            <a:ext cx="7897037" cy="83471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Organização</a:t>
            </a:r>
            <a:r>
              <a:rPr lang="en-US" sz="3600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</a:t>
            </a:r>
            <a:endParaRPr lang="en-US" dirty="0"/>
          </a:p>
        </p:txBody>
      </p:sp>
      <p:sp>
        <p:nvSpPr>
          <p:cNvPr id="56" name="Rectangle 8"/>
          <p:cNvSpPr>
            <a:spLocks noChangeArrowheads="1"/>
          </p:cNvSpPr>
          <p:nvPr/>
        </p:nvSpPr>
        <p:spPr bwMode="auto">
          <a:xfrm>
            <a:off x="3257947" y="3485359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Transição Produçã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Fernando Machado</a:t>
            </a:r>
          </a:p>
        </p:txBody>
      </p:sp>
      <p:sp>
        <p:nvSpPr>
          <p:cNvPr id="59" name="Rectangle 36"/>
          <p:cNvSpPr/>
          <p:nvPr/>
        </p:nvSpPr>
        <p:spPr>
          <a:xfrm>
            <a:off x="4608669" y="445849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ATA LAKE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hiago Jordã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386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2FE43F0-B2E4-4B8F-BB5D-28B2EAB9095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6822</TotalTime>
  <Words>1265</Words>
  <Application>Microsoft Office PowerPoint</Application>
  <PresentationFormat>Apresentação na tela (16:9)</PresentationFormat>
  <Paragraphs>263</Paragraphs>
  <Slides>20</Slides>
  <Notes>3</Notes>
  <HiddenSlides>5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0</vt:i4>
      </vt:variant>
    </vt:vector>
  </HeadingPairs>
  <TitlesOfParts>
    <vt:vector size="53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 novo Antifraude RAID-FMS</vt:lpstr>
      <vt:lpstr>sumário</vt:lpstr>
      <vt:lpstr>Objetivo do projeto</vt:lpstr>
      <vt:lpstr>Escopo (RESUMO PT WEDO)</vt:lpstr>
      <vt:lpstr>Beneficios diretos e indiretos</vt:lpstr>
      <vt:lpstr>Apresentação do PowerPoint</vt:lpstr>
      <vt:lpstr>Apresentação do PowerPoint</vt:lpstr>
      <vt:lpstr>CRONOGRAMA MACRO onda 1 (PT WEDO)</vt:lpstr>
      <vt:lpstr>Apresentação do PowerPoint</vt:lpstr>
      <vt:lpstr>Agenda semanal do projeto</vt:lpstr>
      <vt:lpstr>Resumo financeiro</vt:lpstr>
      <vt:lpstr>Próximos passos</vt:lpstr>
      <vt:lpstr>Arquitetura AF OI -&gt; EVOLUÇÂO RAID-FMS</vt:lpstr>
      <vt:lpstr>Arquitetura FISICA RAID-FMS (draft)</vt:lpstr>
      <vt:lpstr>Principais premissas e restrições (PT WEDO)</vt:lpstr>
      <vt:lpstr>Obrigado.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1955</cp:revision>
  <cp:lastPrinted>2017-06-29T22:57:16Z</cp:lastPrinted>
  <dcterms:created xsi:type="dcterms:W3CDTF">2013-05-14T05:19:21Z</dcterms:created>
  <dcterms:modified xsi:type="dcterms:W3CDTF">2017-08-21T21:0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